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5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804" r:id="rId5"/>
    <p:sldMasterId id="2147483794" r:id="rId6"/>
    <p:sldMasterId id="2147483660" r:id="rId7"/>
  </p:sldMasterIdLst>
  <p:notesMasterIdLst>
    <p:notesMasterId r:id="rId25"/>
  </p:notesMasterIdLst>
  <p:sldIdLst>
    <p:sldId id="281" r:id="rId8"/>
    <p:sldId id="270" r:id="rId9"/>
    <p:sldId id="277" r:id="rId10"/>
    <p:sldId id="274" r:id="rId11"/>
    <p:sldId id="275" r:id="rId12"/>
    <p:sldId id="282" r:id="rId13"/>
    <p:sldId id="278" r:id="rId14"/>
    <p:sldId id="258" r:id="rId15"/>
    <p:sldId id="257" r:id="rId16"/>
    <p:sldId id="260" r:id="rId17"/>
    <p:sldId id="262" r:id="rId18"/>
    <p:sldId id="263" r:id="rId19"/>
    <p:sldId id="266" r:id="rId20"/>
    <p:sldId id="267" r:id="rId21"/>
    <p:sldId id="269" r:id="rId22"/>
    <p:sldId id="280" r:id="rId23"/>
    <p:sldId id="279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2938EA-C525-96DC-72BA-80C3926259F7}" v="1201" dt="2023-05-02T14:02:58.728"/>
    <p1510:client id="{437372CC-F0AB-410F-B291-AF9CA8549022}" v="7" dt="2023-05-02T14:24:29.668"/>
    <p1510:client id="{8BF260B4-9293-9A38-8102-A5D674DDE982}" v="21" dt="2023-05-02T14:07:39.477"/>
    <p1510:client id="{939230FE-69EC-6DAF-CFCD-EC1627E56CC8}" v="125" dt="2023-05-02T13:39:08.992"/>
  </p1510:revLst>
</p1510:revInfo>
</file>

<file path=ppt/tableStyles.xml><?xml version="1.0" encoding="utf-8"?>
<a:tblStyleLst xmlns:a="http://schemas.openxmlformats.org/drawingml/2006/main" def="{5C22544A-7EE6-4342-B048-85BDC9FD1C3A}"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37" d="100"/>
          <a:sy n="37" d="100"/>
        </p:scale>
        <p:origin x="936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C36E50-1EE6-4A05-9FDC-8E2644C9F63A}" type="datetimeFigureOut">
              <a:t>5/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46B1DF-51C8-42BD-843F-AE13DE6717BA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4947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9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sv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1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sv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1.sv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40E8D1-344E-045A-513E-0E001C956B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F3503D3-A8FA-E0E0-B00C-2E51A3F811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5CFE74-2B7E-96C8-755A-36DCCA302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4F3BC-EA26-4D2D-960E-C4290108537D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75ACD8-963D-1082-5F8F-CAE6458EC8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E608F6-7982-1298-8809-64161D4E7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C30F7-8651-449F-8E2A-113F3693AF5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1876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A355ED-6F0B-2948-5AC8-935E7AE9A4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D7AD104-03A6-A24D-A337-49F9AB7C3A9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CC0013-C342-B60A-2C85-0449023802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4F3BC-EA26-4D2D-960E-C4290108537D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436615-A3FF-9D57-1CDE-E3B428CFF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725B42-7BD7-287E-9AE8-FC001839F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C30F7-8651-449F-8E2A-113F3693AF5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86509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41D76D5-FE80-5EEF-EB11-B582807A9C8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19E2972-AF3F-126B-11B9-41B65373B1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5C738C-0FC4-87E6-9BFB-26CDCD324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4F3BC-EA26-4D2D-960E-C4290108537D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C1A018-0A07-6D80-6EC3-C61192229E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6AB896-83E9-C540-7775-098772B408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C30F7-8651-449F-8E2A-113F3693AF5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59404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92896-0027-443A-D01E-0CE282B3A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92896-0027-443A-D01E-0CE282B3A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ADD59A9-81EE-0DF4-BF97-645E59790906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20700" y="3940216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0700" y="4502943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81E81C-A3CE-333A-79BA-25D8F93FB564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1FA932-514A-C951-F952-F8A43667EA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pic>
        <p:nvPicPr>
          <p:cNvPr id="24" name="Picture 23" descr="Icon&#10;&#10;Description automatically generated with medium confidence">
            <a:extLst>
              <a:ext uri="{FF2B5EF4-FFF2-40B4-BE49-F238E27FC236}">
                <a16:creationId xmlns:a16="http://schemas.microsoft.com/office/drawing/2014/main" id="{40DDF016-D509-BED0-161C-B51B4CFCB42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71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0D3666-6EB4-2815-6D2E-EFE946A218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0D3666-6EB4-2815-6D2E-EFE946A21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CD0C9FF5-5269-0182-FD37-55478A13B6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8D015E68-9B94-B2B9-2F33-1D9732CC14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58F29C9-8F7E-1D4B-3005-616565FA7753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DF7007A-5965-5814-8FF8-29077566CB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700" y="5010784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6A64F09-F5D8-B6EE-7ED5-2B69A4668C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700" y="5558794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11AA76-84DB-E6D7-7F67-E7CF37FEEDBC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8155D66-36CA-D9A7-7EDA-E532E62376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31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I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A717EDF-9AA4-491F-3311-9F14A5CFB89C}"/>
              </a:ext>
            </a:extLst>
          </p:cNvPr>
          <p:cNvSpPr/>
          <p:nvPr userDrawn="1"/>
        </p:nvSpPr>
        <p:spPr bwMode="auto">
          <a:xfrm>
            <a:off x="523973" y="6107998"/>
            <a:ext cx="1806576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4AC67F3-7D0E-A071-327B-17B446179DB8}"/>
              </a:ext>
            </a:extLst>
          </p:cNvPr>
          <p:cNvSpPr/>
          <p:nvPr userDrawn="1"/>
        </p:nvSpPr>
        <p:spPr bwMode="auto">
          <a:xfrm>
            <a:off x="523973" y="4557510"/>
            <a:ext cx="1806576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E30BA3B-88CD-41DE-E089-7100E3E52A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07432" y="4557510"/>
            <a:ext cx="9414362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18000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DECISION: To seek X’s [single point accountable decision maker] decision to implement A</a:t>
            </a:r>
            <a:br>
              <a:rPr lang="en-US"/>
            </a:br>
            <a:r>
              <a:rPr lang="en-US"/>
              <a:t>INPUT: To receive input to the proposed plan for B</a:t>
            </a:r>
            <a:br>
              <a:rPr lang="en-US"/>
            </a:br>
            <a:r>
              <a:rPr lang="en-US"/>
              <a:t>AWARENESS: To update XXX regarding C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C6E06B6-BD9A-7A5E-5A90-56308009FF5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407432" y="6107998"/>
            <a:ext cx="9414362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72000" rIns="180000" bIns="72000" anchor="ctr" anchorCtr="0">
            <a:noAutofit/>
          </a:bodyPr>
          <a:lstStyle>
            <a:lvl1pPr marL="0" indent="0"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Single person accountable for this topic / paper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3973" y="4990763"/>
            <a:ext cx="1806576" cy="1040352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Up to 5 clear, focused objectives 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i</a:t>
            </a:r>
            <a:r>
              <a:rPr lang="en-US"/>
              <a:t>) for decision, </a:t>
            </a:r>
            <a:br>
              <a:rPr lang="en-US"/>
            </a:br>
            <a:r>
              <a:rPr lang="en-US"/>
              <a:t>(ii) for input </a:t>
            </a:r>
            <a:br>
              <a:rPr lang="en-US"/>
            </a:br>
            <a:r>
              <a:rPr lang="en-US"/>
              <a:t>(iii) for awareness</a:t>
            </a: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E683597-5ADE-F2A0-A01C-FD8E476ABB8B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7A99F019-A435-B954-ABA9-68CA4DD19B2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81F87534-B1D7-C46B-9E66-8AC884393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0183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/SPAD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0AC59E1C-A015-4BA4-AB7D-EC00F37B815F}"/>
              </a:ext>
            </a:extLst>
          </p:cNvPr>
          <p:cNvSpPr/>
          <p:nvPr userDrawn="1"/>
        </p:nvSpPr>
        <p:spPr bwMode="auto">
          <a:xfrm>
            <a:off x="365126" y="1307574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4EBA022-30B3-B17F-5D7C-3A3D869D35FA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2778690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Key ques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5A742C-A049-77AC-C2E5-4272D118CC96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4249806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Next step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6507E6-44A7-B4B5-33F1-9F0C0DC0FDE1}"/>
              </a:ext>
            </a:extLst>
          </p:cNvPr>
          <p:cNvSpPr/>
          <p:nvPr userDrawn="1"/>
        </p:nvSpPr>
        <p:spPr bwMode="auto">
          <a:xfrm>
            <a:off x="365126" y="5720922"/>
            <a:ext cx="1806576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773ECA-2D04-B6E9-1FB4-377F08AA5D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976886-926E-8975-E95D-5BCD6F82EE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5E9B4D-B613-11AE-72F8-5A0C3EBFD95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3 May 2023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ABB6F2-78D4-BCC3-D950-5FAF7FCB8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7554912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opic / pap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FA46E8B4-4C83-8DD1-80BB-CC03BD24AF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E19B5E4-F2A8-7F44-855D-F41DDE3B3D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72450" y="694948"/>
            <a:ext cx="3649661" cy="352801"/>
          </a:xfrm>
        </p:spPr>
        <p:txBody>
          <a:bodyPr lIns="0" tIns="0" rIns="0" bIns="18000" anchor="b" anchorCtr="0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insert date of session 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5126" y="1777158"/>
            <a:ext cx="1695450" cy="926921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Up to 5 clear, focused objectives 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i</a:t>
            </a:r>
            <a:r>
              <a:rPr lang="en-US"/>
              <a:t>) for decision, </a:t>
            </a:r>
            <a:br>
              <a:rPr lang="en-US"/>
            </a:br>
            <a:r>
              <a:rPr lang="en-US"/>
              <a:t>(ii) for input </a:t>
            </a:r>
            <a:br>
              <a:rPr lang="en-US"/>
            </a:br>
            <a:r>
              <a:rPr lang="en-US"/>
              <a:t>(iii) for awarenes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BD6FC89-B057-E6C5-C8EA-1FC8CB31B6CA}"/>
              </a:ext>
            </a:extLst>
          </p:cNvPr>
          <p:cNvSpPr/>
          <p:nvPr userDrawn="1"/>
        </p:nvSpPr>
        <p:spPr bwMode="auto">
          <a:xfrm>
            <a:off x="8172450" y="242888"/>
            <a:ext cx="3654425" cy="4520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5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kern="0">
                <a:solidFill>
                  <a:schemeClr val="tx2"/>
                </a:solidFill>
              </a:rPr>
              <a:t>Session date: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B166E02B-F260-FEAF-DDEB-67922AA11E6E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365126" y="3337172"/>
            <a:ext cx="1695450" cy="838023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Up to 5 key questions to be addressed at the meeting</a:t>
            </a: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9EA22563-2363-AB1F-DC9F-7A5457933645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82C5C591-14F5-449A-187A-1D9A683E961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260405" y="1307574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DECISION: To seek X’s [single point accountable decision maker] decision to implement A</a:t>
            </a:r>
            <a:br>
              <a:rPr lang="en-US"/>
            </a:br>
            <a:r>
              <a:rPr lang="en-US"/>
              <a:t>INPUT: To receive input to the proposed plan for B</a:t>
            </a:r>
            <a:br>
              <a:rPr lang="en-US"/>
            </a:br>
            <a:r>
              <a:rPr lang="en-US"/>
              <a:t>AWARENESS: To update XXX regarding C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54077D3A-2E14-68B6-5E16-413475F36C3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60405" y="2778690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Does XXX have further input on the proposals set out or require additional information?</a:t>
            </a:r>
            <a:br>
              <a:rPr lang="en-US"/>
            </a:br>
            <a:r>
              <a:rPr lang="en-US"/>
              <a:t>Is XXX supportive of the recommendation to x, y, z?</a:t>
            </a:r>
            <a:br>
              <a:rPr lang="en-US"/>
            </a:br>
            <a:r>
              <a:rPr lang="en-US"/>
              <a:t>Does XXX support the approach outlined to x, y, z?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5DE7D720-AF89-6DE4-D2E5-33C7B01B7E9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60405" y="4249806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Key steps following XXX review / decision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8C53FB3B-975B-80D5-29B3-81DC27DCAC8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260405" y="5720922"/>
            <a:ext cx="9557738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36000" rIns="0" bIns="3600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/>
              <a:t>Single person accountable for this topic / pap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257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00430-8A32-4EA0-BAD1-A7727B812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2794-638D-4328-B0BC-C610FB243ADC}" type="datetime4">
              <a:rPr lang="en-GB" smtClean="0"/>
              <a:t>03 May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06E0BB-62AD-47AF-909C-4F33FB561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3CEE5C-8451-457A-BD36-F438731D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1071252-BD8E-4D3D-BF35-8427544DD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3176" y="242888"/>
            <a:ext cx="6712112" cy="5848350"/>
          </a:xfrm>
        </p:spPr>
        <p:txBody>
          <a:bodyPr lIns="0" tIns="180000" rIns="0" bIns="180000" anchor="t">
            <a:noAutofit/>
          </a:bodyPr>
          <a:lstStyle>
            <a:lvl1pPr marL="720000" indent="-720000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800"/>
            </a:lvl1pPr>
            <a:lvl2pPr marL="814742" indent="-457200">
              <a:buClr>
                <a:schemeClr val="tx2"/>
              </a:buClr>
              <a:buFont typeface="+mj-lt"/>
              <a:buAutoNum type="arabicPeriod"/>
              <a:defRPr/>
            </a:lvl2pPr>
            <a:lvl3pPr marL="1177182" indent="-457200">
              <a:buClr>
                <a:schemeClr val="tx2"/>
              </a:buClr>
              <a:buFont typeface="+mj-lt"/>
              <a:buAutoNum type="arabicPeriod"/>
              <a:defRPr/>
            </a:lvl3pPr>
            <a:lvl4pPr>
              <a:buClr>
                <a:schemeClr val="tx2"/>
              </a:buClr>
              <a:buFont typeface="+mj-lt"/>
              <a:buAutoNum type="arabicPeriod"/>
              <a:defRPr/>
            </a:lvl4pPr>
            <a:lvl5pPr>
              <a:buClr>
                <a:schemeClr val="tx2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en-GB"/>
              <a:t>Agenda point 1, add text here.</a:t>
            </a:r>
            <a:br>
              <a:rPr lang="en-GB"/>
            </a:br>
            <a:r>
              <a:rPr lang="en-GB"/>
              <a:t>Agenda point 2, add text here.</a:t>
            </a:r>
            <a:br>
              <a:rPr lang="en-GB"/>
            </a:br>
            <a:r>
              <a:rPr lang="en-GB"/>
              <a:t>Agenda point 3, add text here.</a:t>
            </a:r>
            <a:br>
              <a:rPr lang="en-GB"/>
            </a:br>
            <a:r>
              <a:rPr lang="en-GB"/>
              <a:t>Agenda point 4, add text here.</a:t>
            </a:r>
            <a:br>
              <a:rPr lang="en-GB"/>
            </a:br>
            <a:r>
              <a:rPr lang="en-GB"/>
              <a:t>Agenda point 5, add text here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630E13A-9E76-B161-1416-CBE84BD2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4748050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02868D-ACDF-6434-3575-872690D6A78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47480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674B05C-AADA-DE64-7CCE-6E374DE8A94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047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DD48070-D695-60C2-898C-9832D9369B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outside of grey 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B731B-8FAA-4A1B-8740-D7002967C1C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B124F8D-6A21-41BB-B641-CA493D4F9456}" type="datetime4">
              <a:rPr lang="en-GB" smtClean="0"/>
              <a:t>03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84BE9-25CA-45B1-9061-9DCABA70A1E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0296A1-E119-4AEC-80A5-65FD719F963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8C0D48C-007D-FEEC-D1DF-C00891876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F6E4BF1-5B10-6CC3-60CB-FA773CAB8A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99DCD39-6F77-D442-9C41-7FE9A4CBB7F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405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151742-951B-4B8B-93F8-F6814A0074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97F4CD0-83C1-4C99-A2BD-6DA4A1CC9D00}" type="datetime4">
              <a:rPr lang="en-GB" smtClean="0"/>
              <a:t>03 May 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920F6-7DEA-40DB-B124-F0789E5604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DB722-CBB2-49EC-937E-10206DEB6B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E53DDB-FDB6-66D3-FC50-5426FF978D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03338"/>
            <a:ext cx="11460163" cy="44894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 </a:t>
            </a:r>
            <a:br>
              <a:rPr lang="en-US"/>
            </a:br>
            <a:r>
              <a:rPr lang="en-US"/>
              <a:t>If text content appears too large please reduce the size of this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A7A86B9-637F-F18A-3604-5A44F7C44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A89E078-B97D-529E-FF83-DF5AD69D51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2D601A5-6CEE-D258-CCEB-85D1BB27BD8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7225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5456" y="1303338"/>
            <a:ext cx="11460701" cy="399600"/>
          </a:xfrm>
          <a:prstGeom prst="rect">
            <a:avLst/>
          </a:prstGeom>
        </p:spPr>
        <p:txBody>
          <a:bodyPr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GB"/>
              <a:t>Click to enter subheading text 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475D1F-3C7D-443F-9C73-9160E439AE1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C36D2BF-D8B1-4705-ABD7-209D78E9EBFF}" type="datetime4">
              <a:rPr lang="en-GB" smtClean="0"/>
              <a:t>03 May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10FAE2-40C5-48E8-A896-0682681B6AC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F230C5-C173-4CDF-8F46-DDF8D7240B6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E07AE8-19F2-04D9-93C9-C4F2357C2A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5125" y="1702938"/>
            <a:ext cx="11460163" cy="40898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BDB392-CCE1-B2F2-5843-4AF9AE7D4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9D93444-D1FE-4C3C-7B81-D2693144C1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45A9796-316D-7A43-F981-F6A071B72BB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233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0BAF1B-F7BE-9BC9-2E56-3E1584133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9C9622-DE64-E2ED-1002-B773C95B8B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D15E69-16A2-1043-6638-384AE51FCB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4F3BC-EA26-4D2D-960E-C4290108537D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11611D-FBBE-7DB5-3439-981A204527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03BB50-A25B-0A9A-2FF7-A2E9A5049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C30F7-8651-449F-8E2A-113F3693AF5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09847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72451" y="1303338"/>
            <a:ext cx="3652838" cy="4477804"/>
          </a:xfrm>
          <a:prstGeom prst="roundRect">
            <a:avLst>
              <a:gd name="adj" fmla="val 458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TEXT content ONLY. </a:t>
            </a:r>
            <a:br>
              <a:rPr lang="en-US"/>
            </a:br>
            <a:r>
              <a:rPr lang="en-US"/>
              <a:t>If text content appears outside of the grey placeholder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8172451" y="5791943"/>
            <a:ext cx="3652837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03 May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65125" y="5791943"/>
            <a:ext cx="7554913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5125" y="1303338"/>
            <a:ext cx="7554913" cy="4478337"/>
          </a:xfrm>
        </p:spPr>
        <p:txBody>
          <a:bodyPr lIns="0" tIns="234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605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5125" y="1303338"/>
            <a:ext cx="3652838" cy="4477804"/>
          </a:xfrm>
          <a:prstGeom prst="roundRect">
            <a:avLst>
              <a:gd name="adj" fmla="val 4585"/>
            </a:avLst>
          </a:prstGeom>
          <a:solidFill>
            <a:schemeClr val="tx2"/>
          </a:solidFill>
          <a:ln>
            <a:noFill/>
          </a:ln>
        </p:spPr>
        <p:txBody>
          <a:bodyPr wrap="square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EXT content ONLY. </a:t>
            </a:r>
            <a:br>
              <a:rPr lang="en-US"/>
            </a:br>
            <a:r>
              <a:rPr lang="en-US"/>
              <a:t>If text content appears outside of the grey placeholder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65125" y="5791943"/>
            <a:ext cx="3652837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03 May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270374" y="5791943"/>
            <a:ext cx="7554913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70374" y="1303338"/>
            <a:ext cx="7554913" cy="4478337"/>
          </a:xfrm>
        </p:spPr>
        <p:txBody>
          <a:bodyPr lIns="252000" tIns="234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7107491-B576-4FBA-DF55-410D54CA7B16}"/>
              </a:ext>
            </a:extLst>
          </p:cNvPr>
          <p:cNvSpPr/>
          <p:nvPr userDrawn="1"/>
        </p:nvSpPr>
        <p:spPr>
          <a:xfrm>
            <a:off x="4017963" y="1820564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832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A35D6C9-1CA0-9878-3F7C-4F790C689C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23000" y="1303338"/>
            <a:ext cx="5602288" cy="4488605"/>
          </a:xfrm>
          <a:prstGeom prst="roundRect">
            <a:avLst>
              <a:gd name="adj" fmla="val 425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appears outside of grey place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637B329-27DE-51CE-F4B6-EB1199B2177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5125" y="1303338"/>
            <a:ext cx="5601600" cy="4488605"/>
          </a:xfrm>
          <a:prstGeom prst="roundRect">
            <a:avLst>
              <a:gd name="adj" fmla="val 391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appears outside of grey place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1943"/>
            <a:ext cx="5607050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216325" y="5792438"/>
            <a:ext cx="56089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8E3DBB-00A9-4F08-A07C-9ED9733E007D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D2390426-9D2D-4F00-A428-511448A9836C}" type="datetime4">
              <a:rPr lang="en-GB" smtClean="0"/>
              <a:t>03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37A7E-4BE8-4B01-BC5B-6FE33BA2DB0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87596A-DFCB-4141-B4D9-E8297363009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8B1503-3382-4C3A-A672-A88D048E0DA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32525" y="1454538"/>
            <a:ext cx="52668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nter</a:t>
            </a:r>
            <a:br>
              <a:rPr lang="en-GB"/>
            </a:br>
            <a:r>
              <a:rPr lang="en-GB"/>
              <a:t>subheading tex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CC1C57B-5831-4901-8605-655DBB075B2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391644" y="1454538"/>
            <a:ext cx="52650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nter</a:t>
            </a:r>
            <a:br>
              <a:rPr lang="en-GB"/>
            </a:br>
            <a:r>
              <a:rPr lang="en-GB"/>
              <a:t>subheading text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B8AF01B-B7EE-69F0-3113-1E07C2D58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10D87C1-85C7-40B7-3EF5-0997E04A30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0DBE383-AB10-CC3B-D342-10443E02C9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8036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, Title and Subtitle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106790" y="1303338"/>
            <a:ext cx="7978421" cy="4487862"/>
          </a:xfrm>
          <a:prstGeom prst="roundRect">
            <a:avLst>
              <a:gd name="adj" fmla="val 381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08000">
            <a:noAutofit/>
          </a:bodyPr>
          <a:lstStyle>
            <a:lvl1pPr marL="0" indent="0" algn="ctr"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on the film icon to insert video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F92204-289D-4897-A24D-92B4E89E417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E42D3BA-5EF1-4DB6-ACB2-E19A79A4A64E}" type="datetime4">
              <a:rPr lang="en-GB" smtClean="0"/>
              <a:t>03 May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8A5764-43D8-49B1-8CCF-1E44D258B4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A25ACE-65A6-48E3-AD24-12A240BC4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F9DC526-9754-7DE6-EAC5-B9EB6B6E3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9C0347F-097D-6010-8D87-88D141F8B2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23D2E9-B2C7-255F-E578-0BCEF8C8BF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3180677-148E-F381-0168-9327D51EF5C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1349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Widescreen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5344A2-1C9C-FB10-07A8-CED6CF0274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42888" y="242888"/>
            <a:ext cx="11352439" cy="6384013"/>
          </a:xfrm>
          <a:prstGeom prst="roundRect">
            <a:avLst>
              <a:gd name="adj" fmla="val 272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8000" bIns="1224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on the film icon to insert video]</a:t>
            </a:r>
          </a:p>
        </p:txBody>
      </p:sp>
    </p:spTree>
    <p:extLst>
      <p:ext uri="{BB962C8B-B14F-4D97-AF65-F5344CB8AC3E}">
        <p14:creationId xmlns:p14="http://schemas.microsoft.com/office/powerpoint/2010/main" val="2599322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1303338"/>
            <a:ext cx="3652838" cy="4787862"/>
          </a:xfrm>
          <a:prstGeom prst="roundRect">
            <a:avLst>
              <a:gd name="adj" fmla="val 47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80000" tIns="576000" bIns="72000" anchor="ctr">
            <a:noAutofit/>
          </a:bodyPr>
          <a:lstStyle>
            <a:lvl1pPr marL="0" indent="0" algn="ctr">
              <a:buNone/>
              <a:defRPr sz="20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The image can then be scaled within the frame by using the ‘Crop’ feature in the ‘Picture Format’ tab of the ribbon.</a:t>
            </a:r>
            <a:r>
              <a:rPr lang="en-US"/>
              <a:t> Right click on image to add/edit alt text</a:t>
            </a:r>
            <a:r>
              <a:rPr lang="en-GB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3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75B623F-E1ED-BC6F-EAB9-2F7C7BB5A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5B934E4-D94D-494D-8E16-6927D2105C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4C03FD5-9F96-2D56-07D6-C43A8485D860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016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0E2EBD-4DBA-A411-89A3-C363C68F9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07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0E2EBD-4DBA-A411-89A3-C363C68F9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9163369-E20E-4F1F-9100-6DD4DDB346C3}" type="datetime4">
              <a:rPr lang="en-GB" smtClean="0"/>
              <a:t>03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219C323-6E00-D14B-433A-AFFED48030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8000"/>
          </a:xfrm>
          <a:custGeom>
            <a:avLst/>
            <a:gdLst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26638 w 7554913"/>
              <a:gd name="connsiteY8" fmla="*/ 1402309 h 4788000"/>
              <a:gd name="connsiteX9" fmla="*/ 807326 w 7554913"/>
              <a:gd name="connsiteY9" fmla="*/ 937371 h 4788000"/>
              <a:gd name="connsiteX10" fmla="*/ 850924 w 7554913"/>
              <a:gd name="connsiteY10" fmla="*/ 893772 h 4788000"/>
              <a:gd name="connsiteX11" fmla="*/ 850924 w 7554913"/>
              <a:gd name="connsiteY11" fmla="*/ 639447 h 4788000"/>
              <a:gd name="connsiteX12" fmla="*/ 1360669 w 7554913"/>
              <a:gd name="connsiteY12" fmla="*/ 12872 h 4788000"/>
              <a:gd name="connsiteX13" fmla="*/ 1482160 w 7554913"/>
              <a:gd name="connsiteY13" fmla="*/ 815 h 4788000"/>
              <a:gd name="connsiteX14" fmla="*/ 1697038 w 7554913"/>
              <a:gd name="connsiteY14" fmla="*/ 815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8000">
                <a:moveTo>
                  <a:pt x="1697038" y="0"/>
                </a:moveTo>
                <a:lnTo>
                  <a:pt x="7378379" y="0"/>
                </a:lnTo>
                <a:cubicBezTo>
                  <a:pt x="7475876" y="0"/>
                  <a:pt x="7554913" y="79037"/>
                  <a:pt x="7554913" y="176534"/>
                </a:cubicBezTo>
                <a:lnTo>
                  <a:pt x="7554913" y="4611466"/>
                </a:lnTo>
                <a:cubicBezTo>
                  <a:pt x="7554913" y="4708963"/>
                  <a:pt x="7475876" y="4788000"/>
                  <a:pt x="7378379" y="4788000"/>
                </a:cubicBezTo>
                <a:lnTo>
                  <a:pt x="176534" y="4788000"/>
                </a:lnTo>
                <a:cubicBezTo>
                  <a:pt x="79037" y="4788000"/>
                  <a:pt x="0" y="4708963"/>
                  <a:pt x="0" y="4611466"/>
                </a:cubicBezTo>
                <a:lnTo>
                  <a:pt x="0" y="1552711"/>
                </a:lnTo>
                <a:cubicBezTo>
                  <a:pt x="8759" y="1063964"/>
                  <a:pt x="590287" y="923198"/>
                  <a:pt x="807326" y="937371"/>
                </a:cubicBezTo>
                <a:cubicBezTo>
                  <a:pt x="836392" y="937371"/>
                  <a:pt x="850924" y="915573"/>
                  <a:pt x="850924" y="893772"/>
                </a:cubicBezTo>
                <a:lnTo>
                  <a:pt x="850924" y="639447"/>
                </a:lnTo>
                <a:cubicBezTo>
                  <a:pt x="850924" y="327898"/>
                  <a:pt x="1067897" y="71983"/>
                  <a:pt x="1360669" y="12872"/>
                </a:cubicBezTo>
                <a:lnTo>
                  <a:pt x="1482160" y="815"/>
                </a:lnTo>
                <a:lnTo>
                  <a:pt x="1697038" y="815"/>
                </a:lnTo>
                <a:lnTo>
                  <a:pt x="169703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2B84926-EEA3-D13A-C1FB-3FEC18A73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1464933-1F00-DED1-00C8-C81A38AE38F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2DCCF40-1773-437E-7AB4-DDD201CB4D4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40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B729584D-3365-47B8-9AC0-24723AB0A2D0}" type="datetime4">
              <a:rPr lang="en-GB" smtClean="0"/>
              <a:t>03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8DB8D52-5A42-AF02-A231-C38CC50C6F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7900"/>
          </a:xfrm>
          <a:custGeom>
            <a:avLst/>
            <a:gdLst>
              <a:gd name="connsiteX0" fmla="*/ 176482 w 7554913"/>
              <a:gd name="connsiteY0" fmla="*/ 0 h 4787900"/>
              <a:gd name="connsiteX1" fmla="*/ 7378431 w 7554913"/>
              <a:gd name="connsiteY1" fmla="*/ 0 h 4787900"/>
              <a:gd name="connsiteX2" fmla="*/ 7554913 w 7554913"/>
              <a:gd name="connsiteY2" fmla="*/ 176482 h 4787900"/>
              <a:gd name="connsiteX3" fmla="*/ 7554913 w 7554913"/>
              <a:gd name="connsiteY3" fmla="*/ 4611418 h 4787900"/>
              <a:gd name="connsiteX4" fmla="*/ 7378431 w 7554913"/>
              <a:gd name="connsiteY4" fmla="*/ 4787900 h 4787900"/>
              <a:gd name="connsiteX5" fmla="*/ 176482 w 7554913"/>
              <a:gd name="connsiteY5" fmla="*/ 4787900 h 4787900"/>
              <a:gd name="connsiteX6" fmla="*/ 0 w 7554913"/>
              <a:gd name="connsiteY6" fmla="*/ 4611418 h 4787900"/>
              <a:gd name="connsiteX7" fmla="*/ 0 w 7554913"/>
              <a:gd name="connsiteY7" fmla="*/ 2799479 h 4787900"/>
              <a:gd name="connsiteX8" fmla="*/ 3012 w 7554913"/>
              <a:gd name="connsiteY8" fmla="*/ 2763995 h 4787900"/>
              <a:gd name="connsiteX9" fmla="*/ 415133 w 7554913"/>
              <a:gd name="connsiteY9" fmla="*/ 2402680 h 4787900"/>
              <a:gd name="connsiteX10" fmla="*/ 415133 w 7554913"/>
              <a:gd name="connsiteY10" fmla="*/ 2385217 h 4787900"/>
              <a:gd name="connsiteX11" fmla="*/ 3012 w 7554913"/>
              <a:gd name="connsiteY11" fmla="*/ 2023907 h 4787900"/>
              <a:gd name="connsiteX12" fmla="*/ 0 w 7554913"/>
              <a:gd name="connsiteY12" fmla="*/ 1988423 h 4787900"/>
              <a:gd name="connsiteX13" fmla="*/ 0 w 7554913"/>
              <a:gd name="connsiteY13" fmla="*/ 176482 h 4787900"/>
              <a:gd name="connsiteX14" fmla="*/ 176482 w 7554913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7900">
                <a:moveTo>
                  <a:pt x="176482" y="0"/>
                </a:moveTo>
                <a:lnTo>
                  <a:pt x="7378431" y="0"/>
                </a:lnTo>
                <a:cubicBezTo>
                  <a:pt x="7475899" y="0"/>
                  <a:pt x="7554913" y="79014"/>
                  <a:pt x="7554913" y="176482"/>
                </a:cubicBezTo>
                <a:lnTo>
                  <a:pt x="7554913" y="4611418"/>
                </a:lnTo>
                <a:cubicBezTo>
                  <a:pt x="7554913" y="4708886"/>
                  <a:pt x="7475899" y="4787900"/>
                  <a:pt x="7378431" y="4787900"/>
                </a:cubicBezTo>
                <a:lnTo>
                  <a:pt x="176482" y="4787900"/>
                </a:lnTo>
                <a:cubicBezTo>
                  <a:pt x="79014" y="4787900"/>
                  <a:pt x="0" y="4708886"/>
                  <a:pt x="0" y="4611418"/>
                </a:cubicBezTo>
                <a:lnTo>
                  <a:pt x="0" y="2799479"/>
                </a:lnTo>
                <a:lnTo>
                  <a:pt x="3012" y="2763995"/>
                </a:lnTo>
                <a:cubicBezTo>
                  <a:pt x="35433" y="2581833"/>
                  <a:pt x="179824" y="2466853"/>
                  <a:pt x="415133" y="2402680"/>
                </a:cubicBezTo>
                <a:cubicBezTo>
                  <a:pt x="425612" y="2399188"/>
                  <a:pt x="425612" y="2388709"/>
                  <a:pt x="415133" y="2385217"/>
                </a:cubicBezTo>
                <a:cubicBezTo>
                  <a:pt x="179824" y="2321043"/>
                  <a:pt x="35433" y="2206068"/>
                  <a:pt x="3012" y="2023907"/>
                </a:cubicBezTo>
                <a:lnTo>
                  <a:pt x="0" y="1988423"/>
                </a:lnTo>
                <a:lnTo>
                  <a:pt x="0" y="176482"/>
                </a:lnTo>
                <a:cubicBezTo>
                  <a:pt x="0" y="79014"/>
                  <a:pt x="79014" y="0"/>
                  <a:pt x="1764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7744E32-9E6E-5A11-A7A0-D8AFCFEDB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9AF8F91-23D2-DD88-482D-7FAFF27C51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FB64EB2-7F66-5CCC-3945-F5156896877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204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DFB8F13-AB38-63DB-D1F1-86B6EF73DD2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242888"/>
            <a:ext cx="3652838" cy="5848312"/>
          </a:xfrm>
          <a:custGeom>
            <a:avLst/>
            <a:gdLst>
              <a:gd name="connsiteX0" fmla="*/ 190569 w 3652838"/>
              <a:gd name="connsiteY0" fmla="*/ 0 h 5848312"/>
              <a:gd name="connsiteX1" fmla="*/ 3462269 w 3652838"/>
              <a:gd name="connsiteY1" fmla="*/ 0 h 5848312"/>
              <a:gd name="connsiteX2" fmla="*/ 3652838 w 3652838"/>
              <a:gd name="connsiteY2" fmla="*/ 190569 h 5848312"/>
              <a:gd name="connsiteX3" fmla="*/ 3652838 w 3652838"/>
              <a:gd name="connsiteY3" fmla="*/ 5657743 h 5848312"/>
              <a:gd name="connsiteX4" fmla="*/ 3462269 w 3652838"/>
              <a:gd name="connsiteY4" fmla="*/ 5848312 h 5848312"/>
              <a:gd name="connsiteX5" fmla="*/ 190569 w 3652838"/>
              <a:gd name="connsiteY5" fmla="*/ 5848312 h 5848312"/>
              <a:gd name="connsiteX6" fmla="*/ 0 w 3652838"/>
              <a:gd name="connsiteY6" fmla="*/ 5657743 h 5848312"/>
              <a:gd name="connsiteX7" fmla="*/ 0 w 3652838"/>
              <a:gd name="connsiteY7" fmla="*/ 3402065 h 5848312"/>
              <a:gd name="connsiteX8" fmla="*/ 7373 w 3652838"/>
              <a:gd name="connsiteY8" fmla="*/ 3315183 h 5848312"/>
              <a:gd name="connsiteX9" fmla="*/ 442863 w 3652838"/>
              <a:gd name="connsiteY9" fmla="*/ 2933380 h 5848312"/>
              <a:gd name="connsiteX10" fmla="*/ 442863 w 3652838"/>
              <a:gd name="connsiteY10" fmla="*/ 2914928 h 5848312"/>
              <a:gd name="connsiteX11" fmla="*/ 7373 w 3652838"/>
              <a:gd name="connsiteY11" fmla="*/ 2533130 h 5848312"/>
              <a:gd name="connsiteX12" fmla="*/ 0 w 3652838"/>
              <a:gd name="connsiteY12" fmla="*/ 2446249 h 5848312"/>
              <a:gd name="connsiteX13" fmla="*/ 0 w 3652838"/>
              <a:gd name="connsiteY13" fmla="*/ 190569 h 5848312"/>
              <a:gd name="connsiteX14" fmla="*/ 190569 w 3652838"/>
              <a:gd name="connsiteY14" fmla="*/ 0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52838" h="5848312">
                <a:moveTo>
                  <a:pt x="190569" y="0"/>
                </a:moveTo>
                <a:lnTo>
                  <a:pt x="3462269" y="0"/>
                </a:lnTo>
                <a:cubicBezTo>
                  <a:pt x="3567517" y="0"/>
                  <a:pt x="3652838" y="85321"/>
                  <a:pt x="3652838" y="190569"/>
                </a:cubicBezTo>
                <a:lnTo>
                  <a:pt x="3652838" y="5657743"/>
                </a:lnTo>
                <a:cubicBezTo>
                  <a:pt x="3652838" y="5762991"/>
                  <a:pt x="3567517" y="5848312"/>
                  <a:pt x="3462269" y="5848312"/>
                </a:cubicBezTo>
                <a:lnTo>
                  <a:pt x="190569" y="5848312"/>
                </a:lnTo>
                <a:cubicBezTo>
                  <a:pt x="85321" y="5848312"/>
                  <a:pt x="0" y="5762991"/>
                  <a:pt x="0" y="5657743"/>
                </a:cubicBezTo>
                <a:lnTo>
                  <a:pt x="0" y="3402065"/>
                </a:lnTo>
                <a:lnTo>
                  <a:pt x="7373" y="3315183"/>
                </a:lnTo>
                <a:cubicBezTo>
                  <a:pt x="41632" y="3122692"/>
                  <a:pt x="194211" y="3001193"/>
                  <a:pt x="442863" y="2933380"/>
                </a:cubicBezTo>
                <a:cubicBezTo>
                  <a:pt x="453936" y="2929691"/>
                  <a:pt x="453936" y="2918617"/>
                  <a:pt x="442863" y="2914928"/>
                </a:cubicBezTo>
                <a:cubicBezTo>
                  <a:pt x="194211" y="2847115"/>
                  <a:pt x="41632" y="2725620"/>
                  <a:pt x="7373" y="2533130"/>
                </a:cubicBezTo>
                <a:lnTo>
                  <a:pt x="0" y="2446249"/>
                </a:lnTo>
                <a:lnTo>
                  <a:pt x="0" y="190569"/>
                </a:lnTo>
                <a:cubicBezTo>
                  <a:pt x="0" y="85321"/>
                  <a:pt x="85321" y="0"/>
                  <a:pt x="1905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576000" rIns="108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3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02126E-B6A8-2921-6EF1-1AB371E2B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7554912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475D3A0-2D66-AC67-134B-77A55D269B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21FF2E9-41D3-FCB0-8100-2CB5AD7B06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050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C1E2B43-F98E-82F3-DBAA-FC13402D7C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242888"/>
            <a:ext cx="7554914" cy="5848312"/>
          </a:xfrm>
          <a:custGeom>
            <a:avLst/>
            <a:gdLst>
              <a:gd name="connsiteX0" fmla="*/ 2145019 w 7554914"/>
              <a:gd name="connsiteY0" fmla="*/ 0 h 5848312"/>
              <a:gd name="connsiteX1" fmla="*/ 7370751 w 7554914"/>
              <a:gd name="connsiteY1" fmla="*/ 0 h 5848312"/>
              <a:gd name="connsiteX2" fmla="*/ 7554914 w 7554914"/>
              <a:gd name="connsiteY2" fmla="*/ 184163 h 5848312"/>
              <a:gd name="connsiteX3" fmla="*/ 7554914 w 7554914"/>
              <a:gd name="connsiteY3" fmla="*/ 5664149 h 5848312"/>
              <a:gd name="connsiteX4" fmla="*/ 7370751 w 7554914"/>
              <a:gd name="connsiteY4" fmla="*/ 5848312 h 5848312"/>
              <a:gd name="connsiteX5" fmla="*/ 184163 w 7554914"/>
              <a:gd name="connsiteY5" fmla="*/ 5848312 h 5848312"/>
              <a:gd name="connsiteX6" fmla="*/ 0 w 7554914"/>
              <a:gd name="connsiteY6" fmla="*/ 5664149 h 5848312"/>
              <a:gd name="connsiteX7" fmla="*/ 0 w 7554914"/>
              <a:gd name="connsiteY7" fmla="*/ 2161063 h 5848312"/>
              <a:gd name="connsiteX8" fmla="*/ 38324 w 7554914"/>
              <a:gd name="connsiteY8" fmla="*/ 2036037 h 5848312"/>
              <a:gd name="connsiteX9" fmla="*/ 1172960 w 7554914"/>
              <a:gd name="connsiteY9" fmla="*/ 1360305 h 5848312"/>
              <a:gd name="connsiteX10" fmla="*/ 1236325 w 7554914"/>
              <a:gd name="connsiteY10" fmla="*/ 1296939 h 5848312"/>
              <a:gd name="connsiteX11" fmla="*/ 1236325 w 7554914"/>
              <a:gd name="connsiteY11" fmla="*/ 927309 h 5848312"/>
              <a:gd name="connsiteX12" fmla="*/ 1977178 w 7554914"/>
              <a:gd name="connsiteY12" fmla="*/ 16657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554914" h="5848312">
                <a:moveTo>
                  <a:pt x="2145019" y="0"/>
                </a:moveTo>
                <a:lnTo>
                  <a:pt x="7370751" y="0"/>
                </a:lnTo>
                <a:cubicBezTo>
                  <a:pt x="7472461" y="0"/>
                  <a:pt x="7554914" y="82453"/>
                  <a:pt x="7554914" y="184163"/>
                </a:cubicBezTo>
                <a:lnTo>
                  <a:pt x="7554914" y="5664149"/>
                </a:lnTo>
                <a:cubicBezTo>
                  <a:pt x="7554914" y="5765859"/>
                  <a:pt x="7472461" y="5848312"/>
                  <a:pt x="7370751" y="5848312"/>
                </a:cubicBezTo>
                <a:lnTo>
                  <a:pt x="184163" y="5848312"/>
                </a:lnTo>
                <a:cubicBezTo>
                  <a:pt x="82453" y="5848312"/>
                  <a:pt x="0" y="5765859"/>
                  <a:pt x="0" y="5664149"/>
                </a:cubicBezTo>
                <a:lnTo>
                  <a:pt x="0" y="2161063"/>
                </a:lnTo>
                <a:lnTo>
                  <a:pt x="38324" y="2036037"/>
                </a:lnTo>
                <a:cubicBezTo>
                  <a:pt x="232381" y="1588024"/>
                  <a:pt x="681881" y="1376146"/>
                  <a:pt x="1172960" y="1360305"/>
                </a:cubicBezTo>
                <a:cubicBezTo>
                  <a:pt x="1215204" y="1360305"/>
                  <a:pt x="1236325" y="1328624"/>
                  <a:pt x="1236325" y="1296939"/>
                </a:cubicBezTo>
                <a:lnTo>
                  <a:pt x="1236325" y="927309"/>
                </a:lnTo>
                <a:cubicBezTo>
                  <a:pt x="1236325" y="474509"/>
                  <a:pt x="1551669" y="102568"/>
                  <a:pt x="1977178" y="1665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576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4101"/>
            <a:ext cx="3652839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3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2993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08CFF33-B49E-9711-53F9-19D0CC0A1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390525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A3CE1FB-D5F5-92E1-9D34-DB8E8889C9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39052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B91AF96-43AB-49E0-5AA2-71826DA9639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3191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817D53-107F-08D0-11F4-CF1F542A8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323CC8-6946-6EE4-54E6-5AED0BD116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D0B55B-CD2D-EE37-DE5B-BC07CD9307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4F3BC-EA26-4D2D-960E-C4290108537D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680347-D27E-23CA-344B-6858D3C6CD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AA647E-CE03-2BC2-053F-F2FDC41E5F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C30F7-8651-449F-8E2A-113F3693AF5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15927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2100262"/>
            <a:ext cx="3652838" cy="36921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2DC6169B-19DB-4994-BA6B-38503C57DC8A}" type="datetime4">
              <a:rPr lang="en-GB" smtClean="0"/>
              <a:t>03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FC42DF1-9B7E-9A5C-E40E-35292FD97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5126" y="1303338"/>
            <a:ext cx="3480970" cy="796925"/>
          </a:xfrm>
        </p:spPr>
        <p:txBody>
          <a:bodyPr lIns="0" tIns="72000" rIns="0" bIns="72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/>
              <a:t>Click to edit subheading text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42A83F9-173D-2F5C-840B-653949B4C5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48179" y="1303337"/>
            <a:ext cx="7977108" cy="4787900"/>
          </a:xfrm>
          <a:custGeom>
            <a:avLst/>
            <a:gdLst>
              <a:gd name="connsiteX0" fmla="*/ 594703 w 7977108"/>
              <a:gd name="connsiteY0" fmla="*/ 0 h 4787900"/>
              <a:gd name="connsiteX1" fmla="*/ 7804600 w 7977108"/>
              <a:gd name="connsiteY1" fmla="*/ 0 h 4787900"/>
              <a:gd name="connsiteX2" fmla="*/ 7977108 w 7977108"/>
              <a:gd name="connsiteY2" fmla="*/ 172508 h 4787900"/>
              <a:gd name="connsiteX3" fmla="*/ 7977108 w 7977108"/>
              <a:gd name="connsiteY3" fmla="*/ 4615392 h 4787900"/>
              <a:gd name="connsiteX4" fmla="*/ 7804600 w 7977108"/>
              <a:gd name="connsiteY4" fmla="*/ 4787900 h 4787900"/>
              <a:gd name="connsiteX5" fmla="*/ 594703 w 7977108"/>
              <a:gd name="connsiteY5" fmla="*/ 4787900 h 4787900"/>
              <a:gd name="connsiteX6" fmla="*/ 422195 w 7977108"/>
              <a:gd name="connsiteY6" fmla="*/ 4615392 h 4787900"/>
              <a:gd name="connsiteX7" fmla="*/ 422195 w 7977108"/>
              <a:gd name="connsiteY7" fmla="*/ 1002316 h 4787900"/>
              <a:gd name="connsiteX8" fmla="*/ 419981 w 7977108"/>
              <a:gd name="connsiteY8" fmla="*/ 976226 h 4787900"/>
              <a:gd name="connsiteX9" fmla="*/ 7859 w 7977108"/>
              <a:gd name="connsiteY9" fmla="*/ 614915 h 4787900"/>
              <a:gd name="connsiteX10" fmla="*/ 7859 w 7977108"/>
              <a:gd name="connsiteY10" fmla="*/ 597453 h 4787900"/>
              <a:gd name="connsiteX11" fmla="*/ 419981 w 7977108"/>
              <a:gd name="connsiteY11" fmla="*/ 236137 h 4787900"/>
              <a:gd name="connsiteX12" fmla="*/ 422195 w 7977108"/>
              <a:gd name="connsiteY12" fmla="*/ 210041 h 4787900"/>
              <a:gd name="connsiteX13" fmla="*/ 422195 w 7977108"/>
              <a:gd name="connsiteY13" fmla="*/ 172508 h 4787900"/>
              <a:gd name="connsiteX14" fmla="*/ 594703 w 7977108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77108" h="4787900">
                <a:moveTo>
                  <a:pt x="594703" y="0"/>
                </a:moveTo>
                <a:lnTo>
                  <a:pt x="7804600" y="0"/>
                </a:lnTo>
                <a:cubicBezTo>
                  <a:pt x="7899874" y="0"/>
                  <a:pt x="7977108" y="77234"/>
                  <a:pt x="7977108" y="172508"/>
                </a:cubicBezTo>
                <a:lnTo>
                  <a:pt x="7977108" y="4615392"/>
                </a:lnTo>
                <a:cubicBezTo>
                  <a:pt x="7977108" y="4710666"/>
                  <a:pt x="7899874" y="4787900"/>
                  <a:pt x="7804600" y="4787900"/>
                </a:cubicBezTo>
                <a:lnTo>
                  <a:pt x="594703" y="4787900"/>
                </a:lnTo>
                <a:cubicBezTo>
                  <a:pt x="499429" y="4787900"/>
                  <a:pt x="422195" y="4710666"/>
                  <a:pt x="422195" y="4615392"/>
                </a:cubicBezTo>
                <a:lnTo>
                  <a:pt x="422195" y="1002316"/>
                </a:lnTo>
                <a:lnTo>
                  <a:pt x="419981" y="976226"/>
                </a:lnTo>
                <a:cubicBezTo>
                  <a:pt x="387560" y="794064"/>
                  <a:pt x="243169" y="679089"/>
                  <a:pt x="7859" y="614915"/>
                </a:cubicBezTo>
                <a:cubicBezTo>
                  <a:pt x="-2620" y="611423"/>
                  <a:pt x="-2620" y="600944"/>
                  <a:pt x="7859" y="597453"/>
                </a:cubicBezTo>
                <a:cubicBezTo>
                  <a:pt x="243169" y="533278"/>
                  <a:pt x="387560" y="418299"/>
                  <a:pt x="419981" y="236137"/>
                </a:cubicBezTo>
                <a:lnTo>
                  <a:pt x="422195" y="210041"/>
                </a:lnTo>
                <a:lnTo>
                  <a:pt x="422195" y="172508"/>
                </a:lnTo>
                <a:cubicBezTo>
                  <a:pt x="422195" y="77234"/>
                  <a:pt x="499429" y="0"/>
                  <a:pt x="59470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00000" tIns="216000" rIns="540000" bIns="7200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</a:t>
            </a:r>
            <a:r>
              <a:rPr lang="en-GB"/>
              <a:t>]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E92BEDA-CC1A-B239-4AEA-C3F37E214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0812B-2C47-57D4-77B8-4674E64952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DE5D052-D1E8-918C-87BF-6E3142B87FE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455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3338"/>
            <a:ext cx="5602288" cy="478592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 </a:t>
            </a: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223001" y="1303338"/>
            <a:ext cx="5602288" cy="2049077"/>
          </a:xfrm>
          <a:prstGeom prst="roundRect">
            <a:avLst>
              <a:gd name="adj" fmla="val 854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</a:t>
            </a:r>
            <a:br>
              <a:rPr lang="en-US"/>
            </a:br>
            <a:r>
              <a:rPr lang="en-US"/>
              <a:t>using the ‘Crop’ feature in the ‘Picture Format’ tab </a:t>
            </a:r>
            <a:br>
              <a:rPr lang="en-US"/>
            </a:br>
            <a:r>
              <a:rPr lang="en-US"/>
              <a:t>of the ribbon. Right click on image to add/edit alt text]</a:t>
            </a:r>
            <a:endParaRPr lang="en-GB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223001" y="3383480"/>
            <a:ext cx="5602287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35" name="Picture Placeholder 8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6223001" y="3713345"/>
            <a:ext cx="5602288" cy="2048029"/>
          </a:xfrm>
          <a:prstGeom prst="roundRect">
            <a:avLst>
              <a:gd name="adj" fmla="val 849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</a:t>
            </a:r>
            <a:br>
              <a:rPr lang="en-US"/>
            </a:br>
            <a:r>
              <a:rPr lang="en-US"/>
              <a:t>using the ‘Crop’ feature in the ‘Picture Format’ tab </a:t>
            </a:r>
            <a:br>
              <a:rPr lang="en-US"/>
            </a:br>
            <a:r>
              <a:rPr lang="en-US"/>
              <a:t>of the ribbon. Right click on image to add/edit alt text]</a:t>
            </a:r>
            <a:endParaRPr lang="en-GB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3001" y="5792438"/>
            <a:ext cx="5602287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algn="r">
              <a:defRPr/>
            </a:lvl1pPr>
          </a:lstStyle>
          <a:p>
            <a:fld id="{D35EAFE1-FE5F-44CC-825D-16EBF058F4AD}" type="datetime4">
              <a:rPr lang="en-GB" smtClean="0"/>
              <a:t>03 May 2023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6A279A2-5C44-FF2E-B384-6E6E2D4B3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A0BC10E-676C-5CAF-16CC-96A54F223F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C5935EB-46DA-41B4-C62C-331192886E84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7212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78592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 </a:t>
            </a: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8"/>
            <a:ext cx="3649663" cy="4471820"/>
          </a:xfrm>
          <a:prstGeom prst="roundRect">
            <a:avLst>
              <a:gd name="adj" fmla="val 484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270376" y="5790465"/>
            <a:ext cx="3650970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3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8172450" y="1303338"/>
            <a:ext cx="3650400" cy="4471200"/>
          </a:xfrm>
          <a:prstGeom prst="roundRect">
            <a:avLst>
              <a:gd name="adj" fmla="val 508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8172450" y="5792438"/>
            <a:ext cx="3652838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nsert Source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algn="r">
              <a:defRPr/>
            </a:lvl1pPr>
          </a:lstStyle>
          <a:p>
            <a:fld id="{B03DE9E3-FCC4-44C9-9C9C-3C907C61E776}" type="datetime4">
              <a:rPr lang="en-GB" smtClean="0"/>
              <a:t>03 May 2023</a:t>
            </a:fld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2258698-286C-88FD-70CB-ECDC7EEFE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D5C8553-9D06-642B-D0A0-1E6DF4F5CE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C8E6EBF-1077-88CA-250A-BC3D173D625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07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11AFB533-57EF-4766-9D87-DAD3C67F4A40}" type="datetime4">
              <a:rPr lang="en-GB" smtClean="0"/>
              <a:t>03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5125" y="5792400"/>
            <a:ext cx="11460163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2E2FA657-3A41-6C8A-7C73-5FF4D5761F76}"/>
              </a:ext>
            </a:extLst>
          </p:cNvPr>
          <p:cNvSpPr>
            <a:spLocks noGrp="1"/>
          </p:cNvSpPr>
          <p:nvPr>
            <p:ph type="tbl" sz="quarter" idx="34" hasCustomPrompt="1"/>
          </p:nvPr>
        </p:nvSpPr>
        <p:spPr>
          <a:xfrm>
            <a:off x="365119" y="1303338"/>
            <a:ext cx="11459625" cy="4489450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/>
              <a:t>Click TABLE icon to insert table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A4EB32-D948-C409-F1E5-9F712310D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E30107F-6B57-65E7-BD35-CCB493B8D6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F611BFB-31C6-6656-90B9-BB1C81967B2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982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84741D83-B006-4893-8541-66BA34E08C4B}" type="datetime4">
              <a:rPr lang="en-GB" smtClean="0"/>
              <a:t>03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6713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8994D5C1-7836-1E91-87FA-56E472221EB3}"/>
              </a:ext>
            </a:extLst>
          </p:cNvPr>
          <p:cNvSpPr>
            <a:spLocks noGrp="1"/>
          </p:cNvSpPr>
          <p:nvPr>
            <p:ph type="chart" sz="quarter" idx="34" hasCustomPrompt="1"/>
          </p:nvPr>
        </p:nvSpPr>
        <p:spPr>
          <a:xfrm>
            <a:off x="365125" y="1303338"/>
            <a:ext cx="11460163" cy="4489062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/>
              <a:t>Click CHART icons to insert chart.</a:t>
            </a:r>
            <a:br>
              <a:rPr lang="en-GB"/>
            </a:br>
            <a:r>
              <a:rPr lang="en-US"/>
              <a:t>Please ensure your chart title, legend, x and y axis titles are minimum 12 </a:t>
            </a:r>
            <a:r>
              <a:rPr lang="en-US" err="1"/>
              <a:t>pt</a:t>
            </a:r>
            <a:r>
              <a:rPr lang="en-US"/>
              <a:t>, Arial black for accessibility. 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CEE79-8221-4C6C-2397-0791C954A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091ECF0-259D-F144-9708-B8296C87B0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3FC0E92-53E2-6353-15B7-7028E9E80A8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748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3 May 2023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3924AB-56D4-343D-306B-195A924E9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484351E-5906-1465-ED52-DA75D363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BDBB70-10FD-DDED-C062-9AA927656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BDFC7D-EB75-1C71-FBB6-74679DF5FB23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041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DFB0EC8B-993B-9701-B3D4-2FBFA2652A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B7B165-5683-4F5F-9FF2-907EF7B970C8}" type="datetime4">
              <a:rPr lang="en-GB" smtClean="0"/>
              <a:t>03 May 2023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4B64CB0-473B-DCCB-4EF6-AD25967272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70C223B-EC3F-01A9-ECD3-7E6A591C40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3466546-C07E-BFBF-4B2F-E4D299013F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4800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F5241F-6CBA-AE82-8AEE-138E90E20F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328" t="12162" r="1499" b="12843"/>
          <a:stretch/>
        </p:blipFill>
        <p:spPr>
          <a:xfrm>
            <a:off x="219299" y="6191252"/>
            <a:ext cx="1215582" cy="56380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0C54E86-8E74-E1E1-9919-BF95D8B21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936C739-784E-0B16-D78E-DAACEC459B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8BE41CA-ABEC-55CB-D62E-31831DAD300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722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C3EA56-5111-4037-9D95-99472C98B3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AF44B5-6D56-4B59-9C1D-2022F9BFF5DA}" type="datetime4">
              <a:rPr lang="en-GB" smtClean="0"/>
              <a:t>03 May 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CE7BCF-23E0-421B-8A21-1CDDB1673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1F21D1-F1DD-4945-8EF8-43393EDC3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A2858F-078E-2E59-C8A6-5102082DA3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</p:spTree>
    <p:extLst>
      <p:ext uri="{BB962C8B-B14F-4D97-AF65-F5344CB8AC3E}">
        <p14:creationId xmlns:p14="http://schemas.microsoft.com/office/powerpoint/2010/main" val="144822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9666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580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E4B2AC-4B7E-C9BC-4BE1-F9A7E8ACD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A4CE7E-907E-020D-9ECC-1A012AB745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E8D5D3-67CD-F13B-C729-ECEB7011B9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F5D848-D671-3AE5-7923-59811A6DF5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4F3BC-EA26-4D2D-960E-C4290108537D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DFA1D31-C414-AD24-05CB-6631BDEB5A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BB5C67-A258-1813-072D-9F6FD7CFA0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C30F7-8651-449F-8E2A-113F3693AF5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1361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276E86-C9B6-1B20-0470-A93E9FE768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6347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276E86-C9B6-1B20-0470-A93E9FE76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7905DD1F-ADCE-21F5-3B42-348B73562E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8651875" cy="1260000"/>
          </a:xfrm>
        </p:spPr>
        <p:txBody>
          <a:bodyPr vert="horz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A65F606-CDCB-0367-61AA-199FECCB3A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8651876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E066BEF-B097-8826-7B68-974384A3DA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3772" t="25173" r="16016" b="28870"/>
          <a:stretch/>
        </p:blipFill>
        <p:spPr>
          <a:xfrm>
            <a:off x="322824" y="5861243"/>
            <a:ext cx="1586940" cy="58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752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1B20AFD6-6925-491B-B024-5E0A32A58D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7590" t="25173" r="17185" b="31039"/>
          <a:stretch/>
        </p:blipFill>
        <p:spPr>
          <a:xfrm>
            <a:off x="152399" y="2073890"/>
            <a:ext cx="11992273" cy="453963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B90B266-F3BD-2613-5CB9-7E4A4FDFC416}"/>
              </a:ext>
            </a:extLst>
          </p:cNvPr>
          <p:cNvSpPr/>
          <p:nvPr userDrawn="1"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8659A8-C764-F3A5-40B7-A3CB7A35D23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936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RN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03810C-0168-8013-6BD1-DF4493DB8F41}"/>
              </a:ext>
            </a:extLst>
          </p:cNvPr>
          <p:cNvSpPr/>
          <p:nvPr userDrawn="1"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>
                <a:solidFill>
                  <a:schemeClr val="bg1"/>
                </a:solidFill>
              </a:rPr>
              <a:t>Do not use </a:t>
            </a:r>
            <a:br>
              <a:rPr lang="en-GB" sz="9600" kern="0">
                <a:solidFill>
                  <a:schemeClr val="bg1"/>
                </a:solidFill>
              </a:rPr>
            </a:br>
            <a:r>
              <a:rPr lang="en-GB" sz="9600" kern="0">
                <a:solidFill>
                  <a:schemeClr val="bg1"/>
                </a:solidFill>
              </a:rPr>
              <a:t>layouts that appear </a:t>
            </a:r>
            <a:br>
              <a:rPr lang="en-GB" sz="9600" kern="0">
                <a:solidFill>
                  <a:schemeClr val="bg1"/>
                </a:solidFill>
              </a:rPr>
            </a:br>
            <a:r>
              <a:rPr lang="en-GB" sz="9600" kern="0">
                <a:solidFill>
                  <a:schemeClr val="bg1"/>
                </a:solidFill>
              </a:rPr>
              <a:t>after this poin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AFE542C-8ECE-F9C9-8F96-80B2751FAA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328" t="12162" r="1499" b="12843"/>
          <a:stretch/>
        </p:blipFill>
        <p:spPr>
          <a:xfrm>
            <a:off x="90711" y="6207919"/>
            <a:ext cx="1215582" cy="563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81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151742-951B-4B8B-93F8-F6814A0074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97F4CD0-83C1-4C99-A2BD-6DA4A1CC9D00}" type="datetime4">
              <a:rPr lang="en-GB" smtClean="0"/>
              <a:t>03 May 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920F6-7DEA-40DB-B124-F0789E5604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DB722-CBB2-49EC-937E-10206DEB6B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E53DDB-FDB6-66D3-FC50-5426FF978D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03338"/>
            <a:ext cx="11460163" cy="44894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 </a:t>
            </a:r>
            <a:br>
              <a:rPr lang="en-US"/>
            </a:br>
            <a:r>
              <a:rPr lang="en-US"/>
              <a:t>If text content appears too large please reduce the size of this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A7A86B9-637F-F18A-3604-5A44F7C44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A89E078-B97D-529E-FF83-DF5AD69D51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2D601A5-6CEE-D258-CCEB-85D1BB27BD8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7225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00430-8A32-4EA0-BAD1-A7727B812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2794-638D-4328-B0BC-C610FB243ADC}" type="datetime4">
              <a:rPr lang="en-GB" smtClean="0"/>
              <a:t>03 May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06E0BB-62AD-47AF-909C-4F33FB561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3CEE5C-8451-457A-BD36-F438731D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1071252-BD8E-4D3D-BF35-8427544DD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3176" y="242888"/>
            <a:ext cx="6712112" cy="5848350"/>
          </a:xfrm>
        </p:spPr>
        <p:txBody>
          <a:bodyPr lIns="0" tIns="180000" rIns="0" bIns="180000" anchor="t">
            <a:noAutofit/>
          </a:bodyPr>
          <a:lstStyle>
            <a:lvl1pPr marL="720000" indent="-720000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800"/>
            </a:lvl1pPr>
            <a:lvl2pPr marL="814742" indent="-457200">
              <a:buClr>
                <a:schemeClr val="tx2"/>
              </a:buClr>
              <a:buFont typeface="+mj-lt"/>
              <a:buAutoNum type="arabicPeriod"/>
              <a:defRPr/>
            </a:lvl2pPr>
            <a:lvl3pPr marL="1177182" indent="-457200">
              <a:buClr>
                <a:schemeClr val="tx2"/>
              </a:buClr>
              <a:buFont typeface="+mj-lt"/>
              <a:buAutoNum type="arabicPeriod"/>
              <a:defRPr/>
            </a:lvl3pPr>
            <a:lvl4pPr>
              <a:buClr>
                <a:schemeClr val="tx2"/>
              </a:buClr>
              <a:buFont typeface="+mj-lt"/>
              <a:buAutoNum type="arabicPeriod"/>
              <a:defRPr/>
            </a:lvl4pPr>
            <a:lvl5pPr>
              <a:buClr>
                <a:schemeClr val="tx2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en-GB"/>
              <a:t>Agenda point 1, add text here.</a:t>
            </a:r>
            <a:br>
              <a:rPr lang="en-GB"/>
            </a:br>
            <a:r>
              <a:rPr lang="en-GB"/>
              <a:t>Agenda point 2, add text here.</a:t>
            </a:r>
            <a:br>
              <a:rPr lang="en-GB"/>
            </a:br>
            <a:r>
              <a:rPr lang="en-GB"/>
              <a:t>Agenda point 3, add text here.</a:t>
            </a:r>
            <a:br>
              <a:rPr lang="en-GB"/>
            </a:br>
            <a:r>
              <a:rPr lang="en-GB"/>
              <a:t>Agenda point 4, add text here.</a:t>
            </a:r>
            <a:br>
              <a:rPr lang="en-GB"/>
            </a:br>
            <a:r>
              <a:rPr lang="en-GB"/>
              <a:t>Agenda point 5, add text here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630E13A-9E76-B161-1416-CBE84BD2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4748050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02868D-ACDF-6434-3575-872690D6A78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47480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674B05C-AADA-DE64-7CCE-6E374DE8A94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047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92896-0027-443A-D01E-0CE282B3A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92896-0027-443A-D01E-0CE282B3A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ADD59A9-81EE-0DF4-BF97-645E59790906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20700" y="3940216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0700" y="4502943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81E81C-A3CE-333A-79BA-25D8F93FB564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1FA932-514A-C951-F952-F8A43667EA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pic>
        <p:nvPicPr>
          <p:cNvPr id="24" name="Picture 23" descr="Icon&#10;&#10;Description automatically generated with medium confidence">
            <a:extLst>
              <a:ext uri="{FF2B5EF4-FFF2-40B4-BE49-F238E27FC236}">
                <a16:creationId xmlns:a16="http://schemas.microsoft.com/office/drawing/2014/main" id="{40DDF016-D509-BED0-161C-B51B4CFCB42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71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DD48070-D695-60C2-898C-9832D9369B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outside of grey 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B731B-8FAA-4A1B-8740-D7002967C1C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B124F8D-6A21-41BB-B641-CA493D4F9456}" type="datetime4">
              <a:rPr lang="en-GB" smtClean="0"/>
              <a:t>03 May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84BE9-25CA-45B1-9061-9DCABA70A1E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0296A1-E119-4AEC-80A5-65FD719F963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8C0D48C-007D-FEEC-D1DF-C00891876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F6E4BF1-5B10-6CC3-60CB-FA773CAB8A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99DCD39-6F77-D442-9C41-7FE9A4CBB7F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405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3 May 2023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3924AB-56D4-343D-306B-195A924E9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484351E-5906-1465-ED52-DA75D363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BDBB70-10FD-DDED-C062-9AA927656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BDFC7D-EB75-1C71-FBB6-74679DF5FB23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024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DFB8F13-AB38-63DB-D1F1-86B6EF73DD2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242888"/>
            <a:ext cx="3652838" cy="5848312"/>
          </a:xfrm>
          <a:custGeom>
            <a:avLst/>
            <a:gdLst>
              <a:gd name="connsiteX0" fmla="*/ 190569 w 3652838"/>
              <a:gd name="connsiteY0" fmla="*/ 0 h 5848312"/>
              <a:gd name="connsiteX1" fmla="*/ 3462269 w 3652838"/>
              <a:gd name="connsiteY1" fmla="*/ 0 h 5848312"/>
              <a:gd name="connsiteX2" fmla="*/ 3652838 w 3652838"/>
              <a:gd name="connsiteY2" fmla="*/ 190569 h 5848312"/>
              <a:gd name="connsiteX3" fmla="*/ 3652838 w 3652838"/>
              <a:gd name="connsiteY3" fmla="*/ 5657743 h 5848312"/>
              <a:gd name="connsiteX4" fmla="*/ 3462269 w 3652838"/>
              <a:gd name="connsiteY4" fmla="*/ 5848312 h 5848312"/>
              <a:gd name="connsiteX5" fmla="*/ 190569 w 3652838"/>
              <a:gd name="connsiteY5" fmla="*/ 5848312 h 5848312"/>
              <a:gd name="connsiteX6" fmla="*/ 0 w 3652838"/>
              <a:gd name="connsiteY6" fmla="*/ 5657743 h 5848312"/>
              <a:gd name="connsiteX7" fmla="*/ 0 w 3652838"/>
              <a:gd name="connsiteY7" fmla="*/ 3402065 h 5848312"/>
              <a:gd name="connsiteX8" fmla="*/ 7373 w 3652838"/>
              <a:gd name="connsiteY8" fmla="*/ 3315183 h 5848312"/>
              <a:gd name="connsiteX9" fmla="*/ 442863 w 3652838"/>
              <a:gd name="connsiteY9" fmla="*/ 2933380 h 5848312"/>
              <a:gd name="connsiteX10" fmla="*/ 442863 w 3652838"/>
              <a:gd name="connsiteY10" fmla="*/ 2914928 h 5848312"/>
              <a:gd name="connsiteX11" fmla="*/ 7373 w 3652838"/>
              <a:gd name="connsiteY11" fmla="*/ 2533130 h 5848312"/>
              <a:gd name="connsiteX12" fmla="*/ 0 w 3652838"/>
              <a:gd name="connsiteY12" fmla="*/ 2446249 h 5848312"/>
              <a:gd name="connsiteX13" fmla="*/ 0 w 3652838"/>
              <a:gd name="connsiteY13" fmla="*/ 190569 h 5848312"/>
              <a:gd name="connsiteX14" fmla="*/ 190569 w 3652838"/>
              <a:gd name="connsiteY14" fmla="*/ 0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52838" h="5848312">
                <a:moveTo>
                  <a:pt x="190569" y="0"/>
                </a:moveTo>
                <a:lnTo>
                  <a:pt x="3462269" y="0"/>
                </a:lnTo>
                <a:cubicBezTo>
                  <a:pt x="3567517" y="0"/>
                  <a:pt x="3652838" y="85321"/>
                  <a:pt x="3652838" y="190569"/>
                </a:cubicBezTo>
                <a:lnTo>
                  <a:pt x="3652838" y="5657743"/>
                </a:lnTo>
                <a:cubicBezTo>
                  <a:pt x="3652838" y="5762991"/>
                  <a:pt x="3567517" y="5848312"/>
                  <a:pt x="3462269" y="5848312"/>
                </a:cubicBezTo>
                <a:lnTo>
                  <a:pt x="190569" y="5848312"/>
                </a:lnTo>
                <a:cubicBezTo>
                  <a:pt x="85321" y="5848312"/>
                  <a:pt x="0" y="5762991"/>
                  <a:pt x="0" y="5657743"/>
                </a:cubicBezTo>
                <a:lnTo>
                  <a:pt x="0" y="3402065"/>
                </a:lnTo>
                <a:lnTo>
                  <a:pt x="7373" y="3315183"/>
                </a:lnTo>
                <a:cubicBezTo>
                  <a:pt x="41632" y="3122692"/>
                  <a:pt x="194211" y="3001193"/>
                  <a:pt x="442863" y="2933380"/>
                </a:cubicBezTo>
                <a:cubicBezTo>
                  <a:pt x="453936" y="2929691"/>
                  <a:pt x="453936" y="2918617"/>
                  <a:pt x="442863" y="2914928"/>
                </a:cubicBezTo>
                <a:cubicBezTo>
                  <a:pt x="194211" y="2847115"/>
                  <a:pt x="41632" y="2725620"/>
                  <a:pt x="7373" y="2533130"/>
                </a:cubicBezTo>
                <a:lnTo>
                  <a:pt x="0" y="2446249"/>
                </a:lnTo>
                <a:lnTo>
                  <a:pt x="0" y="190569"/>
                </a:lnTo>
                <a:cubicBezTo>
                  <a:pt x="0" y="85321"/>
                  <a:pt x="85321" y="0"/>
                  <a:pt x="1905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576000" rIns="108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</a:t>
            </a:r>
            <a:r>
              <a:rPr lang="en-US"/>
              <a:t>The image can then be scaled within the frame by using the ‘Crop’ feature in the ‘Picture Format’ tab of the ribbon. Right click on image to add/edit alt text]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3 May 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02126E-B6A8-2921-6EF1-1AB371E2B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7554912" cy="4308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475D3A0-2D66-AC67-134B-77A55D269B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21FF2E9-41D3-FCB0-8100-2CB5AD7B06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321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06D257-CB7E-F2AB-57F6-29643FD0AA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937571B-E73C-BE60-31F3-BA6E119DFC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35952F-C6AB-D620-F9EA-25D5DE9C2D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65654-34AD-41FE-984D-A1B94801BAFE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94174-7C1F-C916-246D-E793BAF5F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A9E48-CADD-F1DF-A3E0-9C6D8AAD93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9949C9-C564-4BFA-BC4F-5435ACA9E0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9552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70892B-EECA-5AA6-9E67-D227F9D22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08AEF8-E5F2-8876-EA33-4D693574FB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0D5725-C6A8-D055-3660-6828FCB91A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733C9B-97F8-E0C3-B3B5-B616E324A4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EA188C7-7E95-899A-029A-433BF84BA90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2BFB6D9-7B5B-DA0A-7DB3-3DD76C776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4F3BC-EA26-4D2D-960E-C4290108537D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7F650B-EF2A-C353-78AB-82BFE834A9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AE88DC-6356-566C-2B43-BCD681CDAF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C30F7-8651-449F-8E2A-113F3693AF5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1452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92896-0027-443A-D01E-0CE282B3A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92896-0027-443A-D01E-0CE282B3A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ADD59A9-81EE-0DF4-BF97-645E59790906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2192000" cy="3382710"/>
          </a:xfrm>
          <a:custGeom>
            <a:avLst/>
            <a:gdLst>
              <a:gd name="connsiteX0" fmla="*/ 0 w 12192000"/>
              <a:gd name="connsiteY0" fmla="*/ 0 h 3382710"/>
              <a:gd name="connsiteX1" fmla="*/ 12192000 w 12192000"/>
              <a:gd name="connsiteY1" fmla="*/ 0 h 3382710"/>
              <a:gd name="connsiteX2" fmla="*/ 12192000 w 12192000"/>
              <a:gd name="connsiteY2" fmla="*/ 2525484 h 3382710"/>
              <a:gd name="connsiteX3" fmla="*/ 10930890 w 12192000"/>
              <a:gd name="connsiteY3" fmla="*/ 2525484 h 3382710"/>
              <a:gd name="connsiteX4" fmla="*/ 8755659 w 12192000"/>
              <a:gd name="connsiteY4" fmla="*/ 2525484 h 3382710"/>
              <a:gd name="connsiteX5" fmla="*/ 7004114 w 12192000"/>
              <a:gd name="connsiteY5" fmla="*/ 2525484 h 3382710"/>
              <a:gd name="connsiteX6" fmla="*/ 6113526 w 12192000"/>
              <a:gd name="connsiteY6" fmla="*/ 3366922 h 3382710"/>
              <a:gd name="connsiteX7" fmla="*/ 6078476 w 12192000"/>
              <a:gd name="connsiteY7" fmla="*/ 3366922 h 3382710"/>
              <a:gd name="connsiteX8" fmla="*/ 5187887 w 12192000"/>
              <a:gd name="connsiteY8" fmla="*/ 2525484 h 3382710"/>
              <a:gd name="connsiteX9" fmla="*/ 3436341 w 12192000"/>
              <a:gd name="connsiteY9" fmla="*/ 2525484 h 3382710"/>
              <a:gd name="connsiteX10" fmla="*/ 1261112 w 12192000"/>
              <a:gd name="connsiteY10" fmla="*/ 2525484 h 3382710"/>
              <a:gd name="connsiteX11" fmla="*/ 0 w 12192000"/>
              <a:gd name="connsiteY11" fmla="*/ 2525484 h 338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382710">
                <a:moveTo>
                  <a:pt x="0" y="0"/>
                </a:moveTo>
                <a:lnTo>
                  <a:pt x="12192000" y="0"/>
                </a:lnTo>
                <a:lnTo>
                  <a:pt x="12192000" y="2525484"/>
                </a:lnTo>
                <a:lnTo>
                  <a:pt x="10930890" y="2525484"/>
                </a:lnTo>
                <a:lnTo>
                  <a:pt x="8755659" y="2525484"/>
                </a:lnTo>
                <a:lnTo>
                  <a:pt x="7004114" y="2525484"/>
                </a:lnTo>
                <a:cubicBezTo>
                  <a:pt x="6541294" y="2525484"/>
                  <a:pt x="6260783" y="2827046"/>
                  <a:pt x="6113526" y="3366922"/>
                </a:cubicBezTo>
                <a:cubicBezTo>
                  <a:pt x="6106478" y="3387973"/>
                  <a:pt x="6085525" y="3387973"/>
                  <a:pt x="6078476" y="3366922"/>
                </a:cubicBezTo>
                <a:cubicBezTo>
                  <a:pt x="5931221" y="2827046"/>
                  <a:pt x="5650707" y="2525484"/>
                  <a:pt x="5187887" y="2525484"/>
                </a:cubicBezTo>
                <a:lnTo>
                  <a:pt x="3436341" y="2525484"/>
                </a:lnTo>
                <a:lnTo>
                  <a:pt x="1261112" y="2525484"/>
                </a:lnTo>
                <a:lnTo>
                  <a:pt x="0" y="252548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dirty="0" err="1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20700" y="3940216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 algn="ctr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nter presentation tit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0700" y="4502943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ubtitle / presenter na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81E81C-A3CE-333A-79BA-25D8F93FB564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1FA932-514A-C951-F952-F8A43667EA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pic>
        <p:nvPicPr>
          <p:cNvPr id="24" name="Picture 23" descr="Icon&#10;&#10;Description automatically generated with medium confidence">
            <a:extLst>
              <a:ext uri="{FF2B5EF4-FFF2-40B4-BE49-F238E27FC236}">
                <a16:creationId xmlns:a16="http://schemas.microsoft.com/office/drawing/2014/main" id="{40DDF016-D509-BED0-161C-B51B4CFCB42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71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0D3666-6EB4-2815-6D2E-EFE946A218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0D3666-6EB4-2815-6D2E-EFE946A21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CD0C9FF5-5269-0182-FD37-55478A13B6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8D015E68-9B94-B2B9-2F33-1D9732CC14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58F29C9-8F7E-1D4B-3005-616565FA7753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DF7007A-5965-5814-8FF8-29077566CB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700" y="5010784"/>
            <a:ext cx="11150600" cy="548009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nter presentation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6A64F09-F5D8-B6EE-7ED5-2B69A4668C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700" y="5558794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ubtitle / presenter nam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11AA76-84DB-E6D7-7F67-E7CF37FEEDBC}"/>
              </a:ext>
            </a:extLst>
          </p:cNvPr>
          <p:cNvSpPr/>
          <p:nvPr userDrawn="1"/>
        </p:nvSpPr>
        <p:spPr bwMode="auto">
          <a:xfrm>
            <a:off x="11039475" y="6058694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8155D66-36CA-D9A7-7EDA-E532E62376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4470" y="6137672"/>
            <a:ext cx="159543" cy="15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31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I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A717EDF-9AA4-491F-3311-9F14A5CFB89C}"/>
              </a:ext>
            </a:extLst>
          </p:cNvPr>
          <p:cNvSpPr/>
          <p:nvPr userDrawn="1"/>
        </p:nvSpPr>
        <p:spPr bwMode="auto">
          <a:xfrm>
            <a:off x="523973" y="6107998"/>
            <a:ext cx="1806576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4AC67F3-7D0E-A071-327B-17B446179DB8}"/>
              </a:ext>
            </a:extLst>
          </p:cNvPr>
          <p:cNvSpPr/>
          <p:nvPr userDrawn="1"/>
        </p:nvSpPr>
        <p:spPr bwMode="auto">
          <a:xfrm>
            <a:off x="523973" y="4557510"/>
            <a:ext cx="1806576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E30BA3B-88CD-41DE-E089-7100E3E52A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07432" y="4557510"/>
            <a:ext cx="9414362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18000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DECISION: To seek X’s [single point accountable decision maker] decision to implement A</a:t>
            </a:r>
            <a:br>
              <a:rPr lang="en-US" dirty="0"/>
            </a:br>
            <a:r>
              <a:rPr lang="en-US" dirty="0"/>
              <a:t>INPUT: To receive input to the proposed plan for B</a:t>
            </a:r>
            <a:br>
              <a:rPr lang="en-US" dirty="0"/>
            </a:br>
            <a:r>
              <a:rPr lang="en-US" dirty="0"/>
              <a:t>AWARENESS: To update XXX regarding C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C6E06B6-BD9A-7A5E-5A90-56308009FF5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407432" y="6107998"/>
            <a:ext cx="9414362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72000" rIns="180000" bIns="72000" anchor="ctr" anchorCtr="0">
            <a:noAutofit/>
          </a:bodyPr>
          <a:lstStyle>
            <a:lvl1pPr marL="0" indent="0"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Single person accountable for this topic / paper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3973" y="4990763"/>
            <a:ext cx="1806576" cy="1040352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clear, focused objectives </a:t>
            </a:r>
            <a:br>
              <a:rPr lang="en-US" dirty="0"/>
            </a:br>
            <a:r>
              <a:rPr lang="en-US" dirty="0"/>
              <a:t>(</a:t>
            </a:r>
            <a:r>
              <a:rPr lang="en-US" dirty="0" err="1"/>
              <a:t>i</a:t>
            </a:r>
            <a:r>
              <a:rPr lang="en-US" dirty="0"/>
              <a:t>) for decision, </a:t>
            </a:r>
            <a:br>
              <a:rPr lang="en-US" dirty="0"/>
            </a:br>
            <a:r>
              <a:rPr lang="en-US" dirty="0"/>
              <a:t>(ii) for input </a:t>
            </a:r>
            <a:br>
              <a:rPr lang="en-US" dirty="0"/>
            </a:br>
            <a:r>
              <a:rPr lang="en-US" dirty="0"/>
              <a:t>(iii) for awareness</a:t>
            </a: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E683597-5ADE-F2A0-A01C-FD8E476ABB8B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7A99F019-A435-B954-ABA9-68CA4DD19B2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81F87534-B1D7-C46B-9E66-8AC884393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5064" y="0"/>
            <a:ext cx="1499542" cy="15004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0183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/SPAD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0AC59E1C-A015-4BA4-AB7D-EC00F37B815F}"/>
              </a:ext>
            </a:extLst>
          </p:cNvPr>
          <p:cNvSpPr/>
          <p:nvPr userDrawn="1"/>
        </p:nvSpPr>
        <p:spPr bwMode="auto">
          <a:xfrm>
            <a:off x="365126" y="1307574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4EBA022-30B3-B17F-5D7C-3A3D869D35FA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2778690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Key ques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5A742C-A049-77AC-C2E5-4272D118CC96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4249806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Next step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6507E6-44A7-B4B5-33F1-9F0C0DC0FDE1}"/>
              </a:ext>
            </a:extLst>
          </p:cNvPr>
          <p:cNvSpPr/>
          <p:nvPr userDrawn="1"/>
        </p:nvSpPr>
        <p:spPr bwMode="auto">
          <a:xfrm>
            <a:off x="365126" y="5720922"/>
            <a:ext cx="1806576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773ECA-2D04-B6E9-1FB4-377F08AA5D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976886-926E-8975-E95D-5BCD6F82EE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5E9B4D-B613-11AE-72F8-5A0C3EBFD95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ABB6F2-78D4-BCC3-D950-5FAF7FCB8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7554912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opic / pap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FA46E8B4-4C83-8DD1-80BB-CC03BD24AF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E19B5E4-F2A8-7F44-855D-F41DDE3B3D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72450" y="694948"/>
            <a:ext cx="3649661" cy="352801"/>
          </a:xfrm>
        </p:spPr>
        <p:txBody>
          <a:bodyPr lIns="0" tIns="0" rIns="0" bIns="18000" anchor="b" anchorCtr="0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insert date of session 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5126" y="1777158"/>
            <a:ext cx="1695450" cy="926921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clear, focused objectives </a:t>
            </a:r>
            <a:br>
              <a:rPr lang="en-US" dirty="0"/>
            </a:br>
            <a:r>
              <a:rPr lang="en-US" dirty="0"/>
              <a:t>(</a:t>
            </a:r>
            <a:r>
              <a:rPr lang="en-US" dirty="0" err="1"/>
              <a:t>i</a:t>
            </a:r>
            <a:r>
              <a:rPr lang="en-US" dirty="0"/>
              <a:t>) for decision, </a:t>
            </a:r>
            <a:br>
              <a:rPr lang="en-US" dirty="0"/>
            </a:br>
            <a:r>
              <a:rPr lang="en-US" dirty="0"/>
              <a:t>(ii) for input </a:t>
            </a:r>
            <a:br>
              <a:rPr lang="en-US" dirty="0"/>
            </a:br>
            <a:r>
              <a:rPr lang="en-US" dirty="0"/>
              <a:t>(iii) for awarenes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BD6FC89-B057-E6C5-C8EA-1FC8CB31B6CA}"/>
              </a:ext>
            </a:extLst>
          </p:cNvPr>
          <p:cNvSpPr/>
          <p:nvPr userDrawn="1"/>
        </p:nvSpPr>
        <p:spPr bwMode="auto">
          <a:xfrm>
            <a:off x="8172450" y="242888"/>
            <a:ext cx="3654425" cy="4520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5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kern="0" dirty="0">
                <a:solidFill>
                  <a:schemeClr val="tx2"/>
                </a:solidFill>
              </a:rPr>
              <a:t>Session date: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B166E02B-F260-FEAF-DDEB-67922AA11E6E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365126" y="3337172"/>
            <a:ext cx="1695450" cy="838023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key questions to be addressed at the meeting</a:t>
            </a: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9EA22563-2363-AB1F-DC9F-7A5457933645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82C5C591-14F5-449A-187A-1D9A683E961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260405" y="1307574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DECISION: To seek X’s [single point accountable decision maker] decision to implement A</a:t>
            </a:r>
            <a:br>
              <a:rPr lang="en-US" dirty="0"/>
            </a:br>
            <a:r>
              <a:rPr lang="en-US" dirty="0"/>
              <a:t>INPUT: To receive input to the proposed plan for B</a:t>
            </a:r>
            <a:br>
              <a:rPr lang="en-US" dirty="0"/>
            </a:br>
            <a:r>
              <a:rPr lang="en-US" dirty="0"/>
              <a:t>AWARENESS: To update XXX regarding C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54077D3A-2E14-68B6-5E16-413475F36C3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60405" y="2778690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Does XXX have further input on the proposals set out or require additional information?</a:t>
            </a:r>
            <a:br>
              <a:rPr lang="en-US" dirty="0"/>
            </a:br>
            <a:r>
              <a:rPr lang="en-US" dirty="0"/>
              <a:t>Is XXX supportive of the recommendation to x, y, z?</a:t>
            </a:r>
            <a:br>
              <a:rPr lang="en-US" dirty="0"/>
            </a:br>
            <a:r>
              <a:rPr lang="en-US" dirty="0"/>
              <a:t>Does XXX support the approach outlined to x, y, z?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5DE7D720-AF89-6DE4-D2E5-33C7B01B7E9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60405" y="4249806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Key steps following XXX review / decision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8C53FB3B-975B-80D5-29B3-81DC27DCAC8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260405" y="5720922"/>
            <a:ext cx="9557738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36000" rIns="0" bIns="3600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Single person accountable for this topic / pap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257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00430-8A32-4EA0-BAD1-A7727B812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2794-638D-4328-B0BC-C610FB243ADC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06E0BB-62AD-47AF-909C-4F33FB561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3CEE5C-8451-457A-BD36-F438731D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1071252-BD8E-4D3D-BF35-8427544DD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3176" y="242888"/>
            <a:ext cx="6712112" cy="5848350"/>
          </a:xfrm>
        </p:spPr>
        <p:txBody>
          <a:bodyPr lIns="0" tIns="180000" rIns="0" bIns="180000" anchor="t">
            <a:noAutofit/>
          </a:bodyPr>
          <a:lstStyle>
            <a:lvl1pPr marL="720000" indent="-720000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800"/>
            </a:lvl1pPr>
            <a:lvl2pPr marL="814742" indent="-457200">
              <a:buClr>
                <a:schemeClr val="tx2"/>
              </a:buClr>
              <a:buFont typeface="+mj-lt"/>
              <a:buAutoNum type="arabicPeriod"/>
              <a:defRPr/>
            </a:lvl2pPr>
            <a:lvl3pPr marL="1177182" indent="-457200">
              <a:buClr>
                <a:schemeClr val="tx2"/>
              </a:buClr>
              <a:buFont typeface="+mj-lt"/>
              <a:buAutoNum type="arabicPeriod"/>
              <a:defRPr/>
            </a:lvl3pPr>
            <a:lvl4pPr>
              <a:buClr>
                <a:schemeClr val="tx2"/>
              </a:buClr>
              <a:buFont typeface="+mj-lt"/>
              <a:buAutoNum type="arabicPeriod"/>
              <a:defRPr/>
            </a:lvl4pPr>
            <a:lvl5pPr>
              <a:buClr>
                <a:schemeClr val="tx2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en-GB" dirty="0"/>
              <a:t>Agenda point 1, add text here.</a:t>
            </a:r>
            <a:br>
              <a:rPr lang="en-GB" dirty="0"/>
            </a:br>
            <a:r>
              <a:rPr lang="en-GB" dirty="0"/>
              <a:t>Agenda point 2, add text here.</a:t>
            </a:r>
            <a:br>
              <a:rPr lang="en-GB" dirty="0"/>
            </a:br>
            <a:r>
              <a:rPr lang="en-GB" dirty="0"/>
              <a:t>Agenda point 3, add text here.</a:t>
            </a:r>
            <a:br>
              <a:rPr lang="en-GB" dirty="0"/>
            </a:br>
            <a:r>
              <a:rPr lang="en-GB" dirty="0"/>
              <a:t>Agenda point 4, add text here.</a:t>
            </a:r>
            <a:br>
              <a:rPr lang="en-GB" dirty="0"/>
            </a:br>
            <a:r>
              <a:rPr lang="en-GB" dirty="0"/>
              <a:t>Agenda point 5, add text here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630E13A-9E76-B161-1416-CBE84BD2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4748050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02868D-ACDF-6434-3575-872690D6A78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47480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674B05C-AADA-DE64-7CCE-6E374DE8A94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047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DD48070-D695-60C2-898C-9832D9369B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content appears outside of grey holder please reduce the size of the fo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B731B-8FAA-4A1B-8740-D7002967C1C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B124F8D-6A21-41BB-B641-CA493D4F9456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84BE9-25CA-45B1-9061-9DCABA70A1E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0296A1-E119-4AEC-80A5-65FD719F963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8C0D48C-007D-FEEC-D1DF-C00891876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F6E4BF1-5B10-6CC3-60CB-FA773CAB8A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99DCD39-6F77-D442-9C41-7FE9A4CBB7F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405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151742-951B-4B8B-93F8-F6814A0074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97F4CD0-83C1-4C99-A2BD-6DA4A1CC9D00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920F6-7DEA-40DB-B124-F0789E5604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DB722-CBB2-49EC-937E-10206DEB6B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E53DDB-FDB6-66D3-FC50-5426FF978D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03338"/>
            <a:ext cx="11460163" cy="44894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nter TEXT content ONLY. </a:t>
            </a:r>
            <a:br>
              <a:rPr lang="en-US" dirty="0"/>
            </a:br>
            <a:r>
              <a:rPr lang="en-US" dirty="0"/>
              <a:t>If text content appears too large please reduce the size of this fon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A7A86B9-637F-F18A-3604-5A44F7C44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A89E078-B97D-529E-FF83-DF5AD69D51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2D601A5-6CEE-D258-CCEB-85D1BB27BD8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7225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5456" y="1303338"/>
            <a:ext cx="11460701" cy="399600"/>
          </a:xfrm>
          <a:prstGeom prst="rect">
            <a:avLst/>
          </a:prstGeom>
        </p:spPr>
        <p:txBody>
          <a:bodyPr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GB" dirty="0"/>
              <a:t>Click to enter subheading text 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 dirty="0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475D1F-3C7D-443F-9C73-9160E439AE1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C36D2BF-D8B1-4705-ABD7-209D78E9EBFF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10FAE2-40C5-48E8-A896-0682681B6AC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F230C5-C173-4CDF-8F46-DDF8D7240B6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E07AE8-19F2-04D9-93C9-C4F2357C2A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5125" y="1702938"/>
            <a:ext cx="11460163" cy="40898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TEXT content ONLY.</a:t>
            </a:r>
            <a:br>
              <a:rPr lang="en-US" dirty="0"/>
            </a:br>
            <a:r>
              <a:rPr lang="en-US" dirty="0"/>
              <a:t>If text content appears too large please reduce the size of the fon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BDB392-CCE1-B2F2-5843-4AF9AE7D4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9D93444-D1FE-4C3C-7B81-D2693144C1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45A9796-316D-7A43-F981-F6A071B72BB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233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72451" y="1303338"/>
            <a:ext cx="3652838" cy="4477804"/>
          </a:xfrm>
          <a:prstGeom prst="roundRect">
            <a:avLst>
              <a:gd name="adj" fmla="val 458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TEXT content ONLY. </a:t>
            </a:r>
            <a:br>
              <a:rPr lang="en-US" dirty="0"/>
            </a:br>
            <a:r>
              <a:rPr lang="en-US" dirty="0"/>
              <a:t>If text content appears outside of the grey placeholder please reduce the size of the fon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8172451" y="5791943"/>
            <a:ext cx="3652837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65125" y="5791943"/>
            <a:ext cx="7554913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5125" y="1303338"/>
            <a:ext cx="7554913" cy="4478337"/>
          </a:xfrm>
        </p:spPr>
        <p:txBody>
          <a:bodyPr lIns="0" tIns="234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content appears too large please reduce the size of the fon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605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5125" y="1303338"/>
            <a:ext cx="3652838" cy="4477804"/>
          </a:xfrm>
          <a:prstGeom prst="roundRect">
            <a:avLst>
              <a:gd name="adj" fmla="val 4585"/>
            </a:avLst>
          </a:prstGeom>
          <a:solidFill>
            <a:schemeClr val="tx2"/>
          </a:solidFill>
          <a:ln>
            <a:noFill/>
          </a:ln>
        </p:spPr>
        <p:txBody>
          <a:bodyPr wrap="square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 content ONLY. </a:t>
            </a:r>
            <a:br>
              <a:rPr lang="en-US" dirty="0"/>
            </a:br>
            <a:r>
              <a:rPr lang="en-US" dirty="0"/>
              <a:t>If text content appears outside of the grey placeholder please reduce the size of the fon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65125" y="5791943"/>
            <a:ext cx="3652837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270374" y="5791943"/>
            <a:ext cx="7554913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70374" y="1303338"/>
            <a:ext cx="7554913" cy="4478337"/>
          </a:xfrm>
        </p:spPr>
        <p:txBody>
          <a:bodyPr lIns="252000" tIns="234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content appears too large please reduce the size of the fon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7107491-B576-4FBA-DF55-410D54CA7B16}"/>
              </a:ext>
            </a:extLst>
          </p:cNvPr>
          <p:cNvSpPr/>
          <p:nvPr userDrawn="1"/>
        </p:nvSpPr>
        <p:spPr>
          <a:xfrm>
            <a:off x="4017963" y="1820564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832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7ADFE-A31A-4C57-EEE1-64A323956B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543381-2F01-2F27-0B3E-8792E203FB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4F3BC-EA26-4D2D-960E-C4290108537D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D45939-DCD0-98CD-2675-E142A683D8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BBE0D0-7B04-4909-E9DA-A3E8A1F208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C30F7-8651-449F-8E2A-113F3693AF5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316075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A35D6C9-1CA0-9878-3F7C-4F790C689C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23000" y="1303338"/>
            <a:ext cx="5602288" cy="4488605"/>
          </a:xfrm>
          <a:prstGeom prst="roundRect">
            <a:avLst>
              <a:gd name="adj" fmla="val 425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appears outside of grey placeholder please reduce the size of the fo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637B329-27DE-51CE-F4B6-EB1199B2177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5125" y="1303338"/>
            <a:ext cx="5601600" cy="4488605"/>
          </a:xfrm>
          <a:prstGeom prst="roundRect">
            <a:avLst>
              <a:gd name="adj" fmla="val 391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appears outside of grey placeholder please reduce the size of the fo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1943"/>
            <a:ext cx="5607050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 dirty="0"/>
              <a:t>Insert Source text her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216325" y="5792438"/>
            <a:ext cx="56089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 dirty="0"/>
              <a:t>Insert Source text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8E3DBB-00A9-4F08-A07C-9ED9733E007D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D2390426-9D2D-4F00-A428-511448A9836C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37A7E-4BE8-4B01-BC5B-6FE33BA2DB0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87596A-DFCB-4141-B4D9-E8297363009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8B1503-3382-4C3A-A672-A88D048E0DA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32525" y="1454538"/>
            <a:ext cx="52668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nter</a:t>
            </a:r>
            <a:br>
              <a:rPr lang="en-GB" dirty="0"/>
            </a:br>
            <a:r>
              <a:rPr lang="en-GB" dirty="0"/>
              <a:t>subheading tex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CC1C57B-5831-4901-8605-655DBB075B2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391644" y="1454538"/>
            <a:ext cx="52650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nter</a:t>
            </a:r>
            <a:br>
              <a:rPr lang="en-GB" dirty="0"/>
            </a:br>
            <a:r>
              <a:rPr lang="en-GB" dirty="0"/>
              <a:t>subheading text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B8AF01B-B7EE-69F0-3113-1E07C2D58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10D87C1-85C7-40B7-3EF5-0997E04A30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0DBE383-AB10-CC3B-D342-10443E02C9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8036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, Title and Subtitle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106790" y="1303338"/>
            <a:ext cx="7978421" cy="4487862"/>
          </a:xfrm>
          <a:prstGeom prst="roundRect">
            <a:avLst>
              <a:gd name="adj" fmla="val 381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08000">
            <a:noAutofit/>
          </a:bodyPr>
          <a:lstStyle>
            <a:lvl1pPr marL="0" indent="0" algn="ctr"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on the film icon to insert video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F92204-289D-4897-A24D-92B4E89E417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E42D3BA-5EF1-4DB6-ACB2-E19A79A4A64E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8A5764-43D8-49B1-8CCF-1E44D258B4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A25ACE-65A6-48E3-AD24-12A240BC4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F9DC526-9754-7DE6-EAC5-B9EB6B6E3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9C0347F-097D-6010-8D87-88D141F8B2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23D2E9-B2C7-255F-E578-0BCEF8C8BF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3180677-148E-F381-0168-9327D51EF5C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1349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Widescreen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5344A2-1C9C-FB10-07A8-CED6CF0274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42888" y="242888"/>
            <a:ext cx="11352439" cy="6384013"/>
          </a:xfrm>
          <a:prstGeom prst="roundRect">
            <a:avLst>
              <a:gd name="adj" fmla="val 272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8000" bIns="1224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on the film icon to insert video]</a:t>
            </a:r>
          </a:p>
        </p:txBody>
      </p:sp>
    </p:spTree>
    <p:extLst>
      <p:ext uri="{BB962C8B-B14F-4D97-AF65-F5344CB8AC3E}">
        <p14:creationId xmlns:p14="http://schemas.microsoft.com/office/powerpoint/2010/main" val="2599322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1303338"/>
            <a:ext cx="3652838" cy="4787862"/>
          </a:xfrm>
          <a:prstGeom prst="roundRect">
            <a:avLst>
              <a:gd name="adj" fmla="val 47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80000" tIns="576000" bIns="72000" anchor="ctr">
            <a:noAutofit/>
          </a:bodyPr>
          <a:lstStyle>
            <a:lvl1pPr marL="0" indent="0" algn="ctr">
              <a:buNone/>
              <a:defRPr sz="20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The image can then be scaled within the frame by using the ‘Crop’ feature in the ‘Picture Format’ tab of the ribbon.</a:t>
            </a:r>
            <a:r>
              <a:rPr lang="en-US" dirty="0"/>
              <a:t>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75B623F-E1ED-BC6F-EAB9-2F7C7BB5A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5B934E4-D94D-494D-8E16-6927D2105C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4C03FD5-9F96-2D56-07D6-C43A8485D860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016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0E2EBD-4DBA-A411-89A3-C363C68F9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07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0E2EBD-4DBA-A411-89A3-C363C68F9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9163369-E20E-4F1F-9100-6DD4DDB346C3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219C323-6E00-D14B-433A-AFFED48030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8000"/>
          </a:xfrm>
          <a:custGeom>
            <a:avLst/>
            <a:gdLst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26638 w 7554913"/>
              <a:gd name="connsiteY8" fmla="*/ 1402309 h 4788000"/>
              <a:gd name="connsiteX9" fmla="*/ 807326 w 7554913"/>
              <a:gd name="connsiteY9" fmla="*/ 937371 h 4788000"/>
              <a:gd name="connsiteX10" fmla="*/ 850924 w 7554913"/>
              <a:gd name="connsiteY10" fmla="*/ 893772 h 4788000"/>
              <a:gd name="connsiteX11" fmla="*/ 850924 w 7554913"/>
              <a:gd name="connsiteY11" fmla="*/ 639447 h 4788000"/>
              <a:gd name="connsiteX12" fmla="*/ 1360669 w 7554913"/>
              <a:gd name="connsiteY12" fmla="*/ 12872 h 4788000"/>
              <a:gd name="connsiteX13" fmla="*/ 1482160 w 7554913"/>
              <a:gd name="connsiteY13" fmla="*/ 815 h 4788000"/>
              <a:gd name="connsiteX14" fmla="*/ 1697038 w 7554913"/>
              <a:gd name="connsiteY14" fmla="*/ 815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552711 h 4788000"/>
              <a:gd name="connsiteX8" fmla="*/ 807326 w 7554913"/>
              <a:gd name="connsiteY8" fmla="*/ 937371 h 4788000"/>
              <a:gd name="connsiteX9" fmla="*/ 850924 w 7554913"/>
              <a:gd name="connsiteY9" fmla="*/ 893772 h 4788000"/>
              <a:gd name="connsiteX10" fmla="*/ 850924 w 7554913"/>
              <a:gd name="connsiteY10" fmla="*/ 639447 h 4788000"/>
              <a:gd name="connsiteX11" fmla="*/ 1360669 w 7554913"/>
              <a:gd name="connsiteY11" fmla="*/ 12872 h 4788000"/>
              <a:gd name="connsiteX12" fmla="*/ 1482160 w 7554913"/>
              <a:gd name="connsiteY12" fmla="*/ 815 h 4788000"/>
              <a:gd name="connsiteX13" fmla="*/ 1697038 w 7554913"/>
              <a:gd name="connsiteY13" fmla="*/ 815 h 4788000"/>
              <a:gd name="connsiteX14" fmla="*/ 1697038 w 7554913"/>
              <a:gd name="connsiteY14" fmla="*/ 0 h 47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8000">
                <a:moveTo>
                  <a:pt x="1697038" y="0"/>
                </a:moveTo>
                <a:lnTo>
                  <a:pt x="7378379" y="0"/>
                </a:lnTo>
                <a:cubicBezTo>
                  <a:pt x="7475876" y="0"/>
                  <a:pt x="7554913" y="79037"/>
                  <a:pt x="7554913" y="176534"/>
                </a:cubicBezTo>
                <a:lnTo>
                  <a:pt x="7554913" y="4611466"/>
                </a:lnTo>
                <a:cubicBezTo>
                  <a:pt x="7554913" y="4708963"/>
                  <a:pt x="7475876" y="4788000"/>
                  <a:pt x="7378379" y="4788000"/>
                </a:cubicBezTo>
                <a:lnTo>
                  <a:pt x="176534" y="4788000"/>
                </a:lnTo>
                <a:cubicBezTo>
                  <a:pt x="79037" y="4788000"/>
                  <a:pt x="0" y="4708963"/>
                  <a:pt x="0" y="4611466"/>
                </a:cubicBezTo>
                <a:lnTo>
                  <a:pt x="0" y="1552711"/>
                </a:lnTo>
                <a:cubicBezTo>
                  <a:pt x="8759" y="1063964"/>
                  <a:pt x="590287" y="923198"/>
                  <a:pt x="807326" y="937371"/>
                </a:cubicBezTo>
                <a:cubicBezTo>
                  <a:pt x="836392" y="937371"/>
                  <a:pt x="850924" y="915573"/>
                  <a:pt x="850924" y="893772"/>
                </a:cubicBezTo>
                <a:lnTo>
                  <a:pt x="850924" y="639447"/>
                </a:lnTo>
                <a:cubicBezTo>
                  <a:pt x="850924" y="327898"/>
                  <a:pt x="1067897" y="71983"/>
                  <a:pt x="1360669" y="12872"/>
                </a:cubicBezTo>
                <a:lnTo>
                  <a:pt x="1482160" y="815"/>
                </a:lnTo>
                <a:lnTo>
                  <a:pt x="1697038" y="815"/>
                </a:lnTo>
                <a:lnTo>
                  <a:pt x="169703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2B84926-EEA3-D13A-C1FB-3FEC18A73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1464933-1F00-DED1-00C8-C81A38AE38F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2DCCF40-1773-437E-7AB4-DDD201CB4D4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40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B729584D-3365-47B8-9AC0-24723AB0A2D0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8DB8D52-5A42-AF02-A231-C38CC50C6F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7900"/>
          </a:xfrm>
          <a:custGeom>
            <a:avLst/>
            <a:gdLst>
              <a:gd name="connsiteX0" fmla="*/ 176482 w 7554913"/>
              <a:gd name="connsiteY0" fmla="*/ 0 h 4787900"/>
              <a:gd name="connsiteX1" fmla="*/ 7378431 w 7554913"/>
              <a:gd name="connsiteY1" fmla="*/ 0 h 4787900"/>
              <a:gd name="connsiteX2" fmla="*/ 7554913 w 7554913"/>
              <a:gd name="connsiteY2" fmla="*/ 176482 h 4787900"/>
              <a:gd name="connsiteX3" fmla="*/ 7554913 w 7554913"/>
              <a:gd name="connsiteY3" fmla="*/ 4611418 h 4787900"/>
              <a:gd name="connsiteX4" fmla="*/ 7378431 w 7554913"/>
              <a:gd name="connsiteY4" fmla="*/ 4787900 h 4787900"/>
              <a:gd name="connsiteX5" fmla="*/ 176482 w 7554913"/>
              <a:gd name="connsiteY5" fmla="*/ 4787900 h 4787900"/>
              <a:gd name="connsiteX6" fmla="*/ 0 w 7554913"/>
              <a:gd name="connsiteY6" fmla="*/ 4611418 h 4787900"/>
              <a:gd name="connsiteX7" fmla="*/ 0 w 7554913"/>
              <a:gd name="connsiteY7" fmla="*/ 2799479 h 4787900"/>
              <a:gd name="connsiteX8" fmla="*/ 3012 w 7554913"/>
              <a:gd name="connsiteY8" fmla="*/ 2763995 h 4787900"/>
              <a:gd name="connsiteX9" fmla="*/ 415133 w 7554913"/>
              <a:gd name="connsiteY9" fmla="*/ 2402680 h 4787900"/>
              <a:gd name="connsiteX10" fmla="*/ 415133 w 7554913"/>
              <a:gd name="connsiteY10" fmla="*/ 2385217 h 4787900"/>
              <a:gd name="connsiteX11" fmla="*/ 3012 w 7554913"/>
              <a:gd name="connsiteY11" fmla="*/ 2023907 h 4787900"/>
              <a:gd name="connsiteX12" fmla="*/ 0 w 7554913"/>
              <a:gd name="connsiteY12" fmla="*/ 1988423 h 4787900"/>
              <a:gd name="connsiteX13" fmla="*/ 0 w 7554913"/>
              <a:gd name="connsiteY13" fmla="*/ 176482 h 4787900"/>
              <a:gd name="connsiteX14" fmla="*/ 176482 w 7554913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7900">
                <a:moveTo>
                  <a:pt x="176482" y="0"/>
                </a:moveTo>
                <a:lnTo>
                  <a:pt x="7378431" y="0"/>
                </a:lnTo>
                <a:cubicBezTo>
                  <a:pt x="7475899" y="0"/>
                  <a:pt x="7554913" y="79014"/>
                  <a:pt x="7554913" y="176482"/>
                </a:cubicBezTo>
                <a:lnTo>
                  <a:pt x="7554913" y="4611418"/>
                </a:lnTo>
                <a:cubicBezTo>
                  <a:pt x="7554913" y="4708886"/>
                  <a:pt x="7475899" y="4787900"/>
                  <a:pt x="7378431" y="4787900"/>
                </a:cubicBezTo>
                <a:lnTo>
                  <a:pt x="176482" y="4787900"/>
                </a:lnTo>
                <a:cubicBezTo>
                  <a:pt x="79014" y="4787900"/>
                  <a:pt x="0" y="4708886"/>
                  <a:pt x="0" y="4611418"/>
                </a:cubicBezTo>
                <a:lnTo>
                  <a:pt x="0" y="2799479"/>
                </a:lnTo>
                <a:lnTo>
                  <a:pt x="3012" y="2763995"/>
                </a:lnTo>
                <a:cubicBezTo>
                  <a:pt x="35433" y="2581833"/>
                  <a:pt x="179824" y="2466853"/>
                  <a:pt x="415133" y="2402680"/>
                </a:cubicBezTo>
                <a:cubicBezTo>
                  <a:pt x="425612" y="2399188"/>
                  <a:pt x="425612" y="2388709"/>
                  <a:pt x="415133" y="2385217"/>
                </a:cubicBezTo>
                <a:cubicBezTo>
                  <a:pt x="179824" y="2321043"/>
                  <a:pt x="35433" y="2206068"/>
                  <a:pt x="3012" y="2023907"/>
                </a:cubicBezTo>
                <a:lnTo>
                  <a:pt x="0" y="1988423"/>
                </a:lnTo>
                <a:lnTo>
                  <a:pt x="0" y="176482"/>
                </a:lnTo>
                <a:cubicBezTo>
                  <a:pt x="0" y="79014"/>
                  <a:pt x="79014" y="0"/>
                  <a:pt x="1764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7744E32-9E6E-5A11-A7A0-D8AFCFEDB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9AF8F91-23D2-DD88-482D-7FAFF27C51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FB64EB2-7F66-5CCC-3945-F5156896877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204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DFB8F13-AB38-63DB-D1F1-86B6EF73DD2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242888"/>
            <a:ext cx="3652838" cy="5848312"/>
          </a:xfrm>
          <a:custGeom>
            <a:avLst/>
            <a:gdLst>
              <a:gd name="connsiteX0" fmla="*/ 190569 w 3652838"/>
              <a:gd name="connsiteY0" fmla="*/ 0 h 5848312"/>
              <a:gd name="connsiteX1" fmla="*/ 3462269 w 3652838"/>
              <a:gd name="connsiteY1" fmla="*/ 0 h 5848312"/>
              <a:gd name="connsiteX2" fmla="*/ 3652838 w 3652838"/>
              <a:gd name="connsiteY2" fmla="*/ 190569 h 5848312"/>
              <a:gd name="connsiteX3" fmla="*/ 3652838 w 3652838"/>
              <a:gd name="connsiteY3" fmla="*/ 5657743 h 5848312"/>
              <a:gd name="connsiteX4" fmla="*/ 3462269 w 3652838"/>
              <a:gd name="connsiteY4" fmla="*/ 5848312 h 5848312"/>
              <a:gd name="connsiteX5" fmla="*/ 190569 w 3652838"/>
              <a:gd name="connsiteY5" fmla="*/ 5848312 h 5848312"/>
              <a:gd name="connsiteX6" fmla="*/ 0 w 3652838"/>
              <a:gd name="connsiteY6" fmla="*/ 5657743 h 5848312"/>
              <a:gd name="connsiteX7" fmla="*/ 0 w 3652838"/>
              <a:gd name="connsiteY7" fmla="*/ 3402065 h 5848312"/>
              <a:gd name="connsiteX8" fmla="*/ 7373 w 3652838"/>
              <a:gd name="connsiteY8" fmla="*/ 3315183 h 5848312"/>
              <a:gd name="connsiteX9" fmla="*/ 442863 w 3652838"/>
              <a:gd name="connsiteY9" fmla="*/ 2933380 h 5848312"/>
              <a:gd name="connsiteX10" fmla="*/ 442863 w 3652838"/>
              <a:gd name="connsiteY10" fmla="*/ 2914928 h 5848312"/>
              <a:gd name="connsiteX11" fmla="*/ 7373 w 3652838"/>
              <a:gd name="connsiteY11" fmla="*/ 2533130 h 5848312"/>
              <a:gd name="connsiteX12" fmla="*/ 0 w 3652838"/>
              <a:gd name="connsiteY12" fmla="*/ 2446249 h 5848312"/>
              <a:gd name="connsiteX13" fmla="*/ 0 w 3652838"/>
              <a:gd name="connsiteY13" fmla="*/ 190569 h 5848312"/>
              <a:gd name="connsiteX14" fmla="*/ 190569 w 3652838"/>
              <a:gd name="connsiteY14" fmla="*/ 0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52838" h="5848312">
                <a:moveTo>
                  <a:pt x="190569" y="0"/>
                </a:moveTo>
                <a:lnTo>
                  <a:pt x="3462269" y="0"/>
                </a:lnTo>
                <a:cubicBezTo>
                  <a:pt x="3567517" y="0"/>
                  <a:pt x="3652838" y="85321"/>
                  <a:pt x="3652838" y="190569"/>
                </a:cubicBezTo>
                <a:lnTo>
                  <a:pt x="3652838" y="5657743"/>
                </a:lnTo>
                <a:cubicBezTo>
                  <a:pt x="3652838" y="5762991"/>
                  <a:pt x="3567517" y="5848312"/>
                  <a:pt x="3462269" y="5848312"/>
                </a:cubicBezTo>
                <a:lnTo>
                  <a:pt x="190569" y="5848312"/>
                </a:lnTo>
                <a:cubicBezTo>
                  <a:pt x="85321" y="5848312"/>
                  <a:pt x="0" y="5762991"/>
                  <a:pt x="0" y="5657743"/>
                </a:cubicBezTo>
                <a:lnTo>
                  <a:pt x="0" y="3402065"/>
                </a:lnTo>
                <a:lnTo>
                  <a:pt x="7373" y="3315183"/>
                </a:lnTo>
                <a:cubicBezTo>
                  <a:pt x="41632" y="3122692"/>
                  <a:pt x="194211" y="3001193"/>
                  <a:pt x="442863" y="2933380"/>
                </a:cubicBezTo>
                <a:cubicBezTo>
                  <a:pt x="453936" y="2929691"/>
                  <a:pt x="453936" y="2918617"/>
                  <a:pt x="442863" y="2914928"/>
                </a:cubicBezTo>
                <a:cubicBezTo>
                  <a:pt x="194211" y="2847115"/>
                  <a:pt x="41632" y="2725620"/>
                  <a:pt x="7373" y="2533130"/>
                </a:cubicBezTo>
                <a:lnTo>
                  <a:pt x="0" y="2446249"/>
                </a:lnTo>
                <a:lnTo>
                  <a:pt x="0" y="190569"/>
                </a:lnTo>
                <a:cubicBezTo>
                  <a:pt x="0" y="85321"/>
                  <a:pt x="85321" y="0"/>
                  <a:pt x="1905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576000" rIns="108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]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02126E-B6A8-2921-6EF1-1AB371E2B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7554912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475D3A0-2D66-AC67-134B-77A55D269B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21FF2E9-41D3-FCB0-8100-2CB5AD7B06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050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C1E2B43-F98E-82F3-DBAA-FC13402D7C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242888"/>
            <a:ext cx="7554914" cy="5848312"/>
          </a:xfrm>
          <a:custGeom>
            <a:avLst/>
            <a:gdLst>
              <a:gd name="connsiteX0" fmla="*/ 2145019 w 7554914"/>
              <a:gd name="connsiteY0" fmla="*/ 0 h 5848312"/>
              <a:gd name="connsiteX1" fmla="*/ 7370751 w 7554914"/>
              <a:gd name="connsiteY1" fmla="*/ 0 h 5848312"/>
              <a:gd name="connsiteX2" fmla="*/ 7554914 w 7554914"/>
              <a:gd name="connsiteY2" fmla="*/ 184163 h 5848312"/>
              <a:gd name="connsiteX3" fmla="*/ 7554914 w 7554914"/>
              <a:gd name="connsiteY3" fmla="*/ 5664149 h 5848312"/>
              <a:gd name="connsiteX4" fmla="*/ 7370751 w 7554914"/>
              <a:gd name="connsiteY4" fmla="*/ 5848312 h 5848312"/>
              <a:gd name="connsiteX5" fmla="*/ 184163 w 7554914"/>
              <a:gd name="connsiteY5" fmla="*/ 5848312 h 5848312"/>
              <a:gd name="connsiteX6" fmla="*/ 0 w 7554914"/>
              <a:gd name="connsiteY6" fmla="*/ 5664149 h 5848312"/>
              <a:gd name="connsiteX7" fmla="*/ 0 w 7554914"/>
              <a:gd name="connsiteY7" fmla="*/ 2161063 h 5848312"/>
              <a:gd name="connsiteX8" fmla="*/ 38324 w 7554914"/>
              <a:gd name="connsiteY8" fmla="*/ 2036037 h 5848312"/>
              <a:gd name="connsiteX9" fmla="*/ 1172960 w 7554914"/>
              <a:gd name="connsiteY9" fmla="*/ 1360305 h 5848312"/>
              <a:gd name="connsiteX10" fmla="*/ 1236325 w 7554914"/>
              <a:gd name="connsiteY10" fmla="*/ 1296939 h 5848312"/>
              <a:gd name="connsiteX11" fmla="*/ 1236325 w 7554914"/>
              <a:gd name="connsiteY11" fmla="*/ 927309 h 5848312"/>
              <a:gd name="connsiteX12" fmla="*/ 1977178 w 7554914"/>
              <a:gd name="connsiteY12" fmla="*/ 16657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554914" h="5848312">
                <a:moveTo>
                  <a:pt x="2145019" y="0"/>
                </a:moveTo>
                <a:lnTo>
                  <a:pt x="7370751" y="0"/>
                </a:lnTo>
                <a:cubicBezTo>
                  <a:pt x="7472461" y="0"/>
                  <a:pt x="7554914" y="82453"/>
                  <a:pt x="7554914" y="184163"/>
                </a:cubicBezTo>
                <a:lnTo>
                  <a:pt x="7554914" y="5664149"/>
                </a:lnTo>
                <a:cubicBezTo>
                  <a:pt x="7554914" y="5765859"/>
                  <a:pt x="7472461" y="5848312"/>
                  <a:pt x="7370751" y="5848312"/>
                </a:cubicBezTo>
                <a:lnTo>
                  <a:pt x="184163" y="5848312"/>
                </a:lnTo>
                <a:cubicBezTo>
                  <a:pt x="82453" y="5848312"/>
                  <a:pt x="0" y="5765859"/>
                  <a:pt x="0" y="5664149"/>
                </a:cubicBezTo>
                <a:lnTo>
                  <a:pt x="0" y="2161063"/>
                </a:lnTo>
                <a:lnTo>
                  <a:pt x="38324" y="2036037"/>
                </a:lnTo>
                <a:cubicBezTo>
                  <a:pt x="232381" y="1588024"/>
                  <a:pt x="681881" y="1376146"/>
                  <a:pt x="1172960" y="1360305"/>
                </a:cubicBezTo>
                <a:cubicBezTo>
                  <a:pt x="1215204" y="1360305"/>
                  <a:pt x="1236325" y="1328624"/>
                  <a:pt x="1236325" y="1296939"/>
                </a:cubicBezTo>
                <a:lnTo>
                  <a:pt x="1236325" y="927309"/>
                </a:lnTo>
                <a:cubicBezTo>
                  <a:pt x="1236325" y="474509"/>
                  <a:pt x="1551669" y="102568"/>
                  <a:pt x="1977178" y="1665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576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4101"/>
            <a:ext cx="3652839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2993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08CFF33-B49E-9711-53F9-19D0CC0A1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390525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A3CE1FB-D5F5-92E1-9D34-DB8E8889C9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39052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B91AF96-43AB-49E0-5AA2-71826DA9639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3191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2100262"/>
            <a:ext cx="3652838" cy="36921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2DC6169B-19DB-4994-BA6B-38503C57DC8A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FC42DF1-9B7E-9A5C-E40E-35292FD97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5126" y="1303338"/>
            <a:ext cx="3480970" cy="796925"/>
          </a:xfrm>
        </p:spPr>
        <p:txBody>
          <a:bodyPr lIns="0" tIns="72000" rIns="0" bIns="72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dit subheading text</a:t>
            </a:r>
            <a:endParaRPr lang="en-GB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42A83F9-173D-2F5C-840B-653949B4C5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48179" y="1303337"/>
            <a:ext cx="7977108" cy="4787900"/>
          </a:xfrm>
          <a:custGeom>
            <a:avLst/>
            <a:gdLst>
              <a:gd name="connsiteX0" fmla="*/ 594703 w 7977108"/>
              <a:gd name="connsiteY0" fmla="*/ 0 h 4787900"/>
              <a:gd name="connsiteX1" fmla="*/ 7804600 w 7977108"/>
              <a:gd name="connsiteY1" fmla="*/ 0 h 4787900"/>
              <a:gd name="connsiteX2" fmla="*/ 7977108 w 7977108"/>
              <a:gd name="connsiteY2" fmla="*/ 172508 h 4787900"/>
              <a:gd name="connsiteX3" fmla="*/ 7977108 w 7977108"/>
              <a:gd name="connsiteY3" fmla="*/ 4615392 h 4787900"/>
              <a:gd name="connsiteX4" fmla="*/ 7804600 w 7977108"/>
              <a:gd name="connsiteY4" fmla="*/ 4787900 h 4787900"/>
              <a:gd name="connsiteX5" fmla="*/ 594703 w 7977108"/>
              <a:gd name="connsiteY5" fmla="*/ 4787900 h 4787900"/>
              <a:gd name="connsiteX6" fmla="*/ 422195 w 7977108"/>
              <a:gd name="connsiteY6" fmla="*/ 4615392 h 4787900"/>
              <a:gd name="connsiteX7" fmla="*/ 422195 w 7977108"/>
              <a:gd name="connsiteY7" fmla="*/ 1002316 h 4787900"/>
              <a:gd name="connsiteX8" fmla="*/ 419981 w 7977108"/>
              <a:gd name="connsiteY8" fmla="*/ 976226 h 4787900"/>
              <a:gd name="connsiteX9" fmla="*/ 7859 w 7977108"/>
              <a:gd name="connsiteY9" fmla="*/ 614915 h 4787900"/>
              <a:gd name="connsiteX10" fmla="*/ 7859 w 7977108"/>
              <a:gd name="connsiteY10" fmla="*/ 597453 h 4787900"/>
              <a:gd name="connsiteX11" fmla="*/ 419981 w 7977108"/>
              <a:gd name="connsiteY11" fmla="*/ 236137 h 4787900"/>
              <a:gd name="connsiteX12" fmla="*/ 422195 w 7977108"/>
              <a:gd name="connsiteY12" fmla="*/ 210041 h 4787900"/>
              <a:gd name="connsiteX13" fmla="*/ 422195 w 7977108"/>
              <a:gd name="connsiteY13" fmla="*/ 172508 h 4787900"/>
              <a:gd name="connsiteX14" fmla="*/ 594703 w 7977108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77108" h="4787900">
                <a:moveTo>
                  <a:pt x="594703" y="0"/>
                </a:moveTo>
                <a:lnTo>
                  <a:pt x="7804600" y="0"/>
                </a:lnTo>
                <a:cubicBezTo>
                  <a:pt x="7899874" y="0"/>
                  <a:pt x="7977108" y="77234"/>
                  <a:pt x="7977108" y="172508"/>
                </a:cubicBezTo>
                <a:lnTo>
                  <a:pt x="7977108" y="4615392"/>
                </a:lnTo>
                <a:cubicBezTo>
                  <a:pt x="7977108" y="4710666"/>
                  <a:pt x="7899874" y="4787900"/>
                  <a:pt x="7804600" y="4787900"/>
                </a:cubicBezTo>
                <a:lnTo>
                  <a:pt x="594703" y="4787900"/>
                </a:lnTo>
                <a:cubicBezTo>
                  <a:pt x="499429" y="4787900"/>
                  <a:pt x="422195" y="4710666"/>
                  <a:pt x="422195" y="4615392"/>
                </a:cubicBezTo>
                <a:lnTo>
                  <a:pt x="422195" y="1002316"/>
                </a:lnTo>
                <a:lnTo>
                  <a:pt x="419981" y="976226"/>
                </a:lnTo>
                <a:cubicBezTo>
                  <a:pt x="387560" y="794064"/>
                  <a:pt x="243169" y="679089"/>
                  <a:pt x="7859" y="614915"/>
                </a:cubicBezTo>
                <a:cubicBezTo>
                  <a:pt x="-2620" y="611423"/>
                  <a:pt x="-2620" y="600944"/>
                  <a:pt x="7859" y="597453"/>
                </a:cubicBezTo>
                <a:cubicBezTo>
                  <a:pt x="243169" y="533278"/>
                  <a:pt x="387560" y="418299"/>
                  <a:pt x="419981" y="236137"/>
                </a:cubicBezTo>
                <a:lnTo>
                  <a:pt x="422195" y="210041"/>
                </a:lnTo>
                <a:lnTo>
                  <a:pt x="422195" y="172508"/>
                </a:lnTo>
                <a:cubicBezTo>
                  <a:pt x="422195" y="77234"/>
                  <a:pt x="499429" y="0"/>
                  <a:pt x="59470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00000" tIns="216000" rIns="540000" bIns="7200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E92BEDA-CC1A-B239-4AEA-C3F37E214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0812B-2C47-57D4-77B8-4674E64952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DE5D052-D1E8-918C-87BF-6E3142B87FE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455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3338"/>
            <a:ext cx="5602288" cy="478592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 dirty="0"/>
              <a:t>Click to enter text content. </a:t>
            </a:r>
            <a:r>
              <a:rPr lang="en-US" dirty="0"/>
              <a:t>If text content appears too large please reduce the size of the font.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223001" y="1303338"/>
            <a:ext cx="5602288" cy="2049077"/>
          </a:xfrm>
          <a:prstGeom prst="roundRect">
            <a:avLst>
              <a:gd name="adj" fmla="val 854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</a:t>
            </a:r>
            <a:br>
              <a:rPr lang="en-US" dirty="0"/>
            </a:br>
            <a:r>
              <a:rPr lang="en-US" dirty="0"/>
              <a:t>using the ‘Crop’ feature in the ‘Picture Format’ tab </a:t>
            </a:r>
            <a:br>
              <a:rPr lang="en-US" dirty="0"/>
            </a:br>
            <a:r>
              <a:rPr lang="en-US" dirty="0"/>
              <a:t>of the ribbon. Right click on image to add/edit alt text]</a:t>
            </a:r>
            <a:endParaRPr lang="en-GB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223001" y="3383480"/>
            <a:ext cx="5602287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35" name="Picture Placeholder 8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6223001" y="3713345"/>
            <a:ext cx="5602288" cy="2048029"/>
          </a:xfrm>
          <a:prstGeom prst="roundRect">
            <a:avLst>
              <a:gd name="adj" fmla="val 849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</a:t>
            </a:r>
            <a:br>
              <a:rPr lang="en-US" dirty="0"/>
            </a:br>
            <a:r>
              <a:rPr lang="en-US" dirty="0"/>
              <a:t>using the ‘Crop’ feature in the ‘Picture Format’ tab </a:t>
            </a:r>
            <a:br>
              <a:rPr lang="en-US" dirty="0"/>
            </a:br>
            <a:r>
              <a:rPr lang="en-US" dirty="0"/>
              <a:t>of the ribbon. Right click on image to add/edit alt text]</a:t>
            </a:r>
            <a:endParaRPr lang="en-GB" dirty="0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3001" y="5792438"/>
            <a:ext cx="5602287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algn="r">
              <a:defRPr/>
            </a:lvl1pPr>
          </a:lstStyle>
          <a:p>
            <a:fld id="{D35EAFE1-FE5F-44CC-825D-16EBF058F4AD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6A279A2-5C44-FF2E-B384-6E6E2D4B3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A0BC10E-676C-5CAF-16CC-96A54F223F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C5935EB-46DA-41B4-C62C-331192886E84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7212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E798E0-CDCE-1717-A0BF-FEA9D9B717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4F3BC-EA26-4D2D-960E-C4290108537D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FD6C4-0F8F-0CD8-B692-ACFAF9E7FA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C6250C-B8C1-32E9-A6F5-1AB61C9DA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C30F7-8651-449F-8E2A-113F3693AF5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64841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78592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 dirty="0"/>
              <a:t>Click to enter text content. </a:t>
            </a:r>
            <a:r>
              <a:rPr lang="en-US" dirty="0"/>
              <a:t>If text content appears too large please reduce the size of the font.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8"/>
            <a:ext cx="3649663" cy="4471820"/>
          </a:xfrm>
          <a:prstGeom prst="roundRect">
            <a:avLst>
              <a:gd name="adj" fmla="val 484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]</a:t>
            </a:r>
            <a:endParaRPr lang="en-GB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270376" y="5790465"/>
            <a:ext cx="3650970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3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8172450" y="1303338"/>
            <a:ext cx="3650400" cy="4471200"/>
          </a:xfrm>
          <a:prstGeom prst="roundRect">
            <a:avLst>
              <a:gd name="adj" fmla="val 508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]</a:t>
            </a:r>
            <a:endParaRPr lang="en-GB" dirty="0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8172450" y="5792438"/>
            <a:ext cx="3652838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algn="r">
              <a:defRPr/>
            </a:lvl1pPr>
          </a:lstStyle>
          <a:p>
            <a:fld id="{B03DE9E3-FCC4-44C9-9C9C-3C907C61E776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2258698-286C-88FD-70CB-ECDC7EEFE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D5C8553-9D06-642B-D0A0-1E6DF4F5CE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C8E6EBF-1077-88CA-250A-BC3D173D625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07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11AFB533-57EF-4766-9D87-DAD3C67F4A40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5125" y="5792400"/>
            <a:ext cx="11460163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2E2FA657-3A41-6C8A-7C73-5FF4D5761F76}"/>
              </a:ext>
            </a:extLst>
          </p:cNvPr>
          <p:cNvSpPr>
            <a:spLocks noGrp="1"/>
          </p:cNvSpPr>
          <p:nvPr>
            <p:ph type="tbl" sz="quarter" idx="34" hasCustomPrompt="1"/>
          </p:nvPr>
        </p:nvSpPr>
        <p:spPr>
          <a:xfrm>
            <a:off x="365119" y="1303338"/>
            <a:ext cx="11459625" cy="4489450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 dirty="0"/>
              <a:t>Click TABLE icon to insert table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A4EB32-D948-C409-F1E5-9F712310D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E30107F-6B57-65E7-BD35-CCB493B8D6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F611BFB-31C6-6656-90B9-BB1C81967B2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982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84741D83-B006-4893-8541-66BA34E08C4B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6713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8994D5C1-7836-1E91-87FA-56E472221EB3}"/>
              </a:ext>
            </a:extLst>
          </p:cNvPr>
          <p:cNvSpPr>
            <a:spLocks noGrp="1"/>
          </p:cNvSpPr>
          <p:nvPr>
            <p:ph type="chart" sz="quarter" idx="34" hasCustomPrompt="1"/>
          </p:nvPr>
        </p:nvSpPr>
        <p:spPr>
          <a:xfrm>
            <a:off x="365125" y="1303338"/>
            <a:ext cx="11460163" cy="4489062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 dirty="0"/>
              <a:t>Click CHART icons to insert chart.</a:t>
            </a:r>
            <a:br>
              <a:rPr lang="en-GB" dirty="0"/>
            </a:br>
            <a:r>
              <a:rPr lang="en-US" dirty="0"/>
              <a:t>Please ensure your chart title, legend, x and y axis titles are minimum 12 </a:t>
            </a:r>
            <a:r>
              <a:rPr lang="en-US" dirty="0" err="1"/>
              <a:t>pt</a:t>
            </a:r>
            <a:r>
              <a:rPr lang="en-US" dirty="0"/>
              <a:t>, Arial black for accessibility. 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CEE79-8221-4C6C-2397-0791C954A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091ECF0-259D-F144-9708-B8296C87B0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3FC0E92-53E2-6353-15B7-7028E9E80A8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748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3924AB-56D4-343D-306B-195A924E9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484351E-5906-1465-ED52-DA75D363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BDBB70-10FD-DDED-C062-9AA927656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BDFC7D-EB75-1C71-FBB6-74679DF5FB23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041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DFB0EC8B-993B-9701-B3D4-2FBFA2652A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B7B165-5683-4F5F-9FF2-907EF7B970C8}" type="datetime4">
              <a:rPr lang="en-GB" smtClean="0"/>
              <a:t>03 May 2023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4B64CB0-473B-DCCB-4EF6-AD25967272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70C223B-EC3F-01A9-ECD3-7E6A591C40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3466546-C07E-BFBF-4B2F-E4D299013F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4800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/>
              <a:t>Insert Source tex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F5241F-6CBA-AE82-8AEE-138E90E20F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328" t="12162" r="1499" b="12843"/>
          <a:stretch/>
        </p:blipFill>
        <p:spPr>
          <a:xfrm>
            <a:off x="219299" y="6191252"/>
            <a:ext cx="1215582" cy="56380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0C54E86-8E74-E1E1-9919-BF95D8B21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936C739-784E-0B16-D78E-DAACEC459B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8BE41CA-ABEC-55CB-D62E-31831DAD300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722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C3EA56-5111-4037-9D95-99472C98B3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AF44B5-6D56-4B59-9C1D-2022F9BFF5DA}" type="datetime4">
              <a:rPr lang="en-GB" smtClean="0"/>
              <a:t>03 May 2023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CE7BCF-23E0-421B-8A21-1CDDB1673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1F21D1-F1DD-4945-8EF8-43393EDC3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A2858F-078E-2E59-C8A6-5102082DA3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</p:spTree>
    <p:extLst>
      <p:ext uri="{BB962C8B-B14F-4D97-AF65-F5344CB8AC3E}">
        <p14:creationId xmlns:p14="http://schemas.microsoft.com/office/powerpoint/2010/main" val="144822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9666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580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276E86-C9B6-1B20-0470-A93E9FE768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6347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276E86-C9B6-1B20-0470-A93E9FE76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7905DD1F-ADCE-21F5-3B42-348B73562E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8651875" cy="1260000"/>
          </a:xfrm>
        </p:spPr>
        <p:txBody>
          <a:bodyPr vert="horz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A65F606-CDCB-0367-61AA-199FECCB3A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8651876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E066BEF-B097-8826-7B68-974384A3DA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3772" t="25173" r="16016" b="28870"/>
          <a:stretch/>
        </p:blipFill>
        <p:spPr>
          <a:xfrm>
            <a:off x="322824" y="5861243"/>
            <a:ext cx="1586940" cy="58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752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1B20AFD6-6925-491B-B024-5E0A32A58D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7590" t="25173" r="17185" b="31039"/>
          <a:stretch/>
        </p:blipFill>
        <p:spPr>
          <a:xfrm>
            <a:off x="152399" y="2073890"/>
            <a:ext cx="11992273" cy="453963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B90B266-F3BD-2613-5CB9-7E4A4FDFC416}"/>
              </a:ext>
            </a:extLst>
          </p:cNvPr>
          <p:cNvSpPr/>
          <p:nvPr userDrawn="1"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8659A8-C764-F3A5-40B7-A3CB7A35D23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936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1D8ED-E2B0-FF8D-67D9-866E05A6E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A2911A-6C2E-70E5-9A9C-50D2832DDC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9E836C-A4E3-0DD2-859E-A0A8C07086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8F2231-5DBB-3CED-F108-15A69B9098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4F3BC-EA26-4D2D-960E-C4290108537D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C8FBE8-0198-4398-32A0-351EA063A9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226131-F2E8-82B0-2EBA-7950D8485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C30F7-8651-449F-8E2A-113F3693AF5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357241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RN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03810C-0168-8013-6BD1-DF4493DB8F41}"/>
              </a:ext>
            </a:extLst>
          </p:cNvPr>
          <p:cNvSpPr/>
          <p:nvPr userDrawn="1"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>
                <a:solidFill>
                  <a:schemeClr val="bg1"/>
                </a:solidFill>
              </a:rPr>
              <a:t>Do not use </a:t>
            </a:r>
            <a:br>
              <a:rPr lang="en-GB" sz="9600" kern="0">
                <a:solidFill>
                  <a:schemeClr val="bg1"/>
                </a:solidFill>
              </a:rPr>
            </a:br>
            <a:r>
              <a:rPr lang="en-GB" sz="9600" kern="0">
                <a:solidFill>
                  <a:schemeClr val="bg1"/>
                </a:solidFill>
              </a:rPr>
              <a:t>layouts that appear </a:t>
            </a:r>
            <a:br>
              <a:rPr lang="en-GB" sz="9600" kern="0">
                <a:solidFill>
                  <a:schemeClr val="bg1"/>
                </a:solidFill>
              </a:rPr>
            </a:br>
            <a:r>
              <a:rPr lang="en-GB" sz="9600" kern="0">
                <a:solidFill>
                  <a:schemeClr val="bg1"/>
                </a:solidFill>
              </a:rPr>
              <a:t>after this poin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AFE542C-8ECE-F9C9-8F96-80B2751FAA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328" t="12162" r="1499" b="12843"/>
          <a:stretch/>
        </p:blipFill>
        <p:spPr>
          <a:xfrm>
            <a:off x="90711" y="6207919"/>
            <a:ext cx="1215582" cy="563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81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25EE15-1B15-C15F-2C10-D574E9C9BF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DEF255-66CA-77B3-3DE1-457F943E44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AA6E09-8E99-EBD8-CF64-B0A090213D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E506FE-4159-70D6-716C-00666976CA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4F3BC-EA26-4D2D-960E-C4290108537D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74F4C9-2E83-3BDE-B366-BD6EC947DC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42AEA0-C72F-4D85-4972-81CB1DD7A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C30F7-8651-449F-8E2A-113F3693AF5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8992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32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theme" Target="../theme/theme2.xml"/><Relationship Id="rId37" Type="http://schemas.openxmlformats.org/officeDocument/2006/relationships/image" Target="../media/image3.sv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47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46.xml"/><Relationship Id="rId9" Type="http://schemas.openxmlformats.org/officeDocument/2006/relationships/tags" Target="../tags/tag1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70.xml"/><Relationship Id="rId34" Type="http://schemas.openxmlformats.org/officeDocument/2006/relationships/oleObject" Target="../embeddings/oleObject10.bin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tags" Target="../tags/tag20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theme" Target="../theme/theme4.xml"/><Relationship Id="rId37" Type="http://schemas.openxmlformats.org/officeDocument/2006/relationships/image" Target="../media/image3.svg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0CB5C17-E949-4706-AA8C-31D7FE440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97DB5F-CFDB-BFE1-1E5E-9C66FDB971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B74F15-A21B-A4CA-7346-6788E1935C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4F3BC-EA26-4D2D-960E-C4290108537D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18A3DE-B999-9395-F5E7-D7429ADFAB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1BDF64-B97A-995E-6FC2-2AF27B0515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2C30F7-8651-449F-8E2A-113F3693AF5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7412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280360-3C6D-A798-8CAC-A26D562C3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25" imgH="424" progId="TCLayout.ActiveDocument.1">
                  <p:embed/>
                </p:oleObj>
              </mc:Choice>
              <mc:Fallback>
                <p:oleObj name="think-cell Slide" r:id="rId3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280360-3C6D-A798-8CAC-A26D562C3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19338" y="6343650"/>
            <a:ext cx="56007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5288" y="6343650"/>
            <a:ext cx="5400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nter slide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8172450" y="6343650"/>
            <a:ext cx="2776537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t>03 May 2023</a:t>
            </a:fld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C2AD35-7761-4742-BEF1-3D0CAD2E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1303338"/>
            <a:ext cx="11460163" cy="4787899"/>
          </a:xfrm>
          <a:prstGeom prst="rect">
            <a:avLst/>
          </a:prstGeom>
        </p:spPr>
        <p:txBody>
          <a:bodyPr vert="horz" lIns="180000" tIns="180000" rIns="180000" bIns="180000" rtlCol="0">
            <a:noAutofit/>
          </a:bodyPr>
          <a:lstStyle/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GB"/>
              <a:t>To increase bullet level, select your text &gt; press ‘Tab’.</a:t>
            </a:r>
            <a:br>
              <a:rPr lang="en-GB"/>
            </a:br>
            <a:r>
              <a:rPr lang="en-GB"/>
              <a:t>To decrease bullet level, select your text &gt; press ‘Shift’ + ‘Tab’.</a:t>
            </a:r>
            <a:br>
              <a:rPr lang="en-GB"/>
            </a:br>
            <a:r>
              <a:rPr lang="en-GB"/>
              <a:t>To remove bullet levels, select your text &gt; right click &gt; press ‘bullets’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  <a:p>
            <a:pPr lvl="4"/>
            <a:endParaRPr lang="en-GB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7B7C2D6E-A9EC-414F-8A58-3207DA98D6C5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76239" y="6354213"/>
            <a:ext cx="820737" cy="247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75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  <p:sldLayoutId id="2147483817" r:id="rId13"/>
    <p:sldLayoutId id="2147483818" r:id="rId14"/>
    <p:sldLayoutId id="2147483819" r:id="rId15"/>
    <p:sldLayoutId id="2147483820" r:id="rId16"/>
    <p:sldLayoutId id="2147483821" r:id="rId17"/>
    <p:sldLayoutId id="2147483822" r:id="rId18"/>
    <p:sldLayoutId id="2147483823" r:id="rId19"/>
    <p:sldLayoutId id="2147483824" r:id="rId20"/>
    <p:sldLayoutId id="2147483825" r:id="rId21"/>
    <p:sldLayoutId id="2147483826" r:id="rId22"/>
    <p:sldLayoutId id="2147483827" r:id="rId23"/>
    <p:sldLayoutId id="2147483828" r:id="rId24"/>
    <p:sldLayoutId id="2147483829" r:id="rId25"/>
    <p:sldLayoutId id="2147483830" r:id="rId26"/>
    <p:sldLayoutId id="2147483831" r:id="rId27"/>
    <p:sldLayoutId id="2147483832" r:id="rId28"/>
    <p:sldLayoutId id="2147483833" r:id="rId29"/>
    <p:sldLayoutId id="2147483834" r:id="rId30"/>
    <p:sldLayoutId id="2147483835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141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59946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0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93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922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A6A6A6"/>
          </p15:clr>
        </p15:guide>
        <p15:guide id="2" pos="7680" userDrawn="1">
          <p15:clr>
            <a:srgbClr val="A6A6A6"/>
          </p15:clr>
        </p15:guide>
        <p15:guide id="3" pos="230" userDrawn="1">
          <p15:clr>
            <a:srgbClr val="A6A6A6"/>
          </p15:clr>
        </p15:guide>
        <p15:guide id="4" pos="1301" userDrawn="1">
          <p15:clr>
            <a:srgbClr val="A6A6A6"/>
          </p15:clr>
        </p15:guide>
        <p15:guide id="5" pos="1461" userDrawn="1">
          <p15:clr>
            <a:srgbClr val="A6A6A6"/>
          </p15:clr>
        </p15:guide>
        <p15:guide id="6" pos="2531" userDrawn="1">
          <p15:clr>
            <a:srgbClr val="A6A6A6"/>
          </p15:clr>
        </p15:guide>
        <p15:guide id="7" pos="2690" userDrawn="1">
          <p15:clr>
            <a:srgbClr val="A6A6A6"/>
          </p15:clr>
        </p15:guide>
        <p15:guide id="8" pos="3759" userDrawn="1">
          <p15:clr>
            <a:srgbClr val="A6A6A6"/>
          </p15:clr>
        </p15:guide>
        <p15:guide id="9" pos="3920" userDrawn="1">
          <p15:clr>
            <a:srgbClr val="A6A6A6"/>
          </p15:clr>
        </p15:guide>
        <p15:guide id="10" pos="4989" userDrawn="1">
          <p15:clr>
            <a:srgbClr val="A6A6A6"/>
          </p15:clr>
        </p15:guide>
        <p15:guide id="11" pos="5148" userDrawn="1">
          <p15:clr>
            <a:srgbClr val="A6A6A6"/>
          </p15:clr>
        </p15:guide>
        <p15:guide id="12" pos="6218" userDrawn="1">
          <p15:clr>
            <a:srgbClr val="A6A6A6"/>
          </p15:clr>
        </p15:guide>
        <p15:guide id="13" pos="6378" userDrawn="1">
          <p15:clr>
            <a:srgbClr val="A6A6A6"/>
          </p15:clr>
        </p15:guide>
        <p15:guide id="14" pos="7449" userDrawn="1">
          <p15:clr>
            <a:srgbClr val="A6A6A6"/>
          </p15:clr>
        </p15:guide>
        <p15:guide id="15" orient="horz" userDrawn="1">
          <p15:clr>
            <a:srgbClr val="A6A6A6"/>
          </p15:clr>
        </p15:guide>
        <p15:guide id="16" orient="horz" pos="4315" userDrawn="1">
          <p15:clr>
            <a:srgbClr val="A6A6A6"/>
          </p15:clr>
        </p15:guide>
        <p15:guide id="17" orient="horz" pos="153" userDrawn="1">
          <p15:clr>
            <a:srgbClr val="A6A6A6"/>
          </p15:clr>
        </p15:guide>
        <p15:guide id="18" orient="horz" pos="686" userDrawn="1">
          <p15:clr>
            <a:srgbClr val="A6A6A6"/>
          </p15:clr>
        </p15:guide>
        <p15:guide id="19" orient="horz" pos="821" userDrawn="1">
          <p15:clr>
            <a:srgbClr val="A6A6A6"/>
          </p15:clr>
        </p15:guide>
        <p15:guide id="20" orient="horz" pos="1323" userDrawn="1">
          <p15:clr>
            <a:srgbClr val="A6A6A6"/>
          </p15:clr>
        </p15:guide>
        <p15:guide id="21" orient="horz" pos="2330" userDrawn="1">
          <p15:clr>
            <a:srgbClr val="A6A6A6"/>
          </p15:clr>
        </p15:guide>
        <p15:guide id="22" orient="horz" pos="3335" userDrawn="1">
          <p15:clr>
            <a:srgbClr val="A6A6A6"/>
          </p15:clr>
        </p15:guide>
        <p15:guide id="23" orient="horz" pos="3837" userDrawn="1">
          <p15:clr>
            <a:srgbClr val="A6A6A6"/>
          </p15:clr>
        </p15:guide>
        <p15:guide id="24" orient="horz" pos="4166" userDrawn="1">
          <p15:clr>
            <a:srgbClr val="A6A6A6"/>
          </p15:clr>
        </p15:guide>
        <p15:guide id="25" orient="horz" pos="1827" userDrawn="1">
          <p15:clr>
            <a:srgbClr val="A4A3A4"/>
          </p15:clr>
        </p15:guide>
        <p15:guide id="26" orient="horz" pos="2832" userDrawn="1">
          <p15:clr>
            <a:srgbClr val="A4A3A4"/>
          </p15:clr>
        </p15:guide>
        <p15:guide id="27" orient="horz" pos="3996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280360-3C6D-A798-8CAC-A26D562C3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5" imgH="424" progId="TCLayout.ActiveDocument.1">
                  <p:embed/>
                </p:oleObj>
              </mc:Choice>
              <mc:Fallback>
                <p:oleObj name="think-cell Slide" r:id="rId10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280360-3C6D-A798-8CAC-A26D562C3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19338" y="6343650"/>
            <a:ext cx="56007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5288" y="6343650"/>
            <a:ext cx="5400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nter slide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8172450" y="6343650"/>
            <a:ext cx="2776537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t>03 May 2023</a:t>
            </a:fld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C2AD35-7761-4742-BEF1-3D0CAD2E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1303338"/>
            <a:ext cx="11460163" cy="4787899"/>
          </a:xfrm>
          <a:prstGeom prst="rect">
            <a:avLst/>
          </a:prstGeom>
        </p:spPr>
        <p:txBody>
          <a:bodyPr vert="horz" lIns="180000" tIns="180000" rIns="180000" bIns="180000" rtlCol="0">
            <a:noAutofit/>
          </a:bodyPr>
          <a:lstStyle/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GB"/>
              <a:t>To increase bullet level, select your text &gt; press ‘Tab’.</a:t>
            </a:r>
            <a:br>
              <a:rPr lang="en-GB"/>
            </a:br>
            <a:r>
              <a:rPr lang="en-GB"/>
              <a:t>To decrease bullet level, select your text &gt; press ‘Shift’ + ‘Tab’.</a:t>
            </a:r>
            <a:br>
              <a:rPr lang="en-GB"/>
            </a:br>
            <a:r>
              <a:rPr lang="en-GB"/>
              <a:t>To remove bullet levels, select your text &gt; right click &gt; press ‘bullets’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  <a:p>
            <a:pPr lvl="4"/>
            <a:endParaRPr lang="en-GB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7B7C2D6E-A9EC-414F-8A58-3207DA98D6C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76239" y="6354213"/>
            <a:ext cx="820737" cy="247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75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87" r:id="rId2"/>
    <p:sldLayoutId id="2147483769" r:id="rId3"/>
    <p:sldLayoutId id="2147483663" r:id="rId4"/>
    <p:sldLayoutId id="2147483796" r:id="rId5"/>
    <p:sldLayoutId id="2147483798" r:id="rId6"/>
    <p:sldLayoutId id="2147483799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141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59946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0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93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922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A6A6A6"/>
          </p15:clr>
        </p15:guide>
        <p15:guide id="2" pos="7680" userDrawn="1">
          <p15:clr>
            <a:srgbClr val="A6A6A6"/>
          </p15:clr>
        </p15:guide>
        <p15:guide id="3" pos="230" userDrawn="1">
          <p15:clr>
            <a:srgbClr val="A6A6A6"/>
          </p15:clr>
        </p15:guide>
        <p15:guide id="4" pos="1301" userDrawn="1">
          <p15:clr>
            <a:srgbClr val="A6A6A6"/>
          </p15:clr>
        </p15:guide>
        <p15:guide id="5" pos="1461" userDrawn="1">
          <p15:clr>
            <a:srgbClr val="A6A6A6"/>
          </p15:clr>
        </p15:guide>
        <p15:guide id="6" pos="2531" userDrawn="1">
          <p15:clr>
            <a:srgbClr val="A6A6A6"/>
          </p15:clr>
        </p15:guide>
        <p15:guide id="7" pos="2690" userDrawn="1">
          <p15:clr>
            <a:srgbClr val="A6A6A6"/>
          </p15:clr>
        </p15:guide>
        <p15:guide id="8" pos="3759" userDrawn="1">
          <p15:clr>
            <a:srgbClr val="A6A6A6"/>
          </p15:clr>
        </p15:guide>
        <p15:guide id="9" pos="3920" userDrawn="1">
          <p15:clr>
            <a:srgbClr val="A6A6A6"/>
          </p15:clr>
        </p15:guide>
        <p15:guide id="10" pos="4989" userDrawn="1">
          <p15:clr>
            <a:srgbClr val="A6A6A6"/>
          </p15:clr>
        </p15:guide>
        <p15:guide id="11" pos="5148" userDrawn="1">
          <p15:clr>
            <a:srgbClr val="A6A6A6"/>
          </p15:clr>
        </p15:guide>
        <p15:guide id="12" pos="6218" userDrawn="1">
          <p15:clr>
            <a:srgbClr val="A6A6A6"/>
          </p15:clr>
        </p15:guide>
        <p15:guide id="13" pos="6378" userDrawn="1">
          <p15:clr>
            <a:srgbClr val="A6A6A6"/>
          </p15:clr>
        </p15:guide>
        <p15:guide id="14" pos="7449" userDrawn="1">
          <p15:clr>
            <a:srgbClr val="A6A6A6"/>
          </p15:clr>
        </p15:guide>
        <p15:guide id="15" orient="horz" userDrawn="1">
          <p15:clr>
            <a:srgbClr val="A6A6A6"/>
          </p15:clr>
        </p15:guide>
        <p15:guide id="16" orient="horz" pos="4315" userDrawn="1">
          <p15:clr>
            <a:srgbClr val="A6A6A6"/>
          </p15:clr>
        </p15:guide>
        <p15:guide id="17" orient="horz" pos="153" userDrawn="1">
          <p15:clr>
            <a:srgbClr val="A6A6A6"/>
          </p15:clr>
        </p15:guide>
        <p15:guide id="18" orient="horz" pos="686" userDrawn="1">
          <p15:clr>
            <a:srgbClr val="A6A6A6"/>
          </p15:clr>
        </p15:guide>
        <p15:guide id="19" orient="horz" pos="821" userDrawn="1">
          <p15:clr>
            <a:srgbClr val="A6A6A6"/>
          </p15:clr>
        </p15:guide>
        <p15:guide id="20" orient="horz" pos="1323" userDrawn="1">
          <p15:clr>
            <a:srgbClr val="A6A6A6"/>
          </p15:clr>
        </p15:guide>
        <p15:guide id="21" orient="horz" pos="2330" userDrawn="1">
          <p15:clr>
            <a:srgbClr val="A6A6A6"/>
          </p15:clr>
        </p15:guide>
        <p15:guide id="22" orient="horz" pos="3335" userDrawn="1">
          <p15:clr>
            <a:srgbClr val="A6A6A6"/>
          </p15:clr>
        </p15:guide>
        <p15:guide id="23" orient="horz" pos="3837" userDrawn="1">
          <p15:clr>
            <a:srgbClr val="A6A6A6"/>
          </p15:clr>
        </p15:guide>
        <p15:guide id="24" orient="horz" pos="4166" userDrawn="1">
          <p15:clr>
            <a:srgbClr val="A6A6A6"/>
          </p15:clr>
        </p15:guide>
        <p15:guide id="25" orient="horz" pos="1827" userDrawn="1">
          <p15:clr>
            <a:srgbClr val="A4A3A4"/>
          </p15:clr>
        </p15:guide>
        <p15:guide id="26" orient="horz" pos="2832" userDrawn="1">
          <p15:clr>
            <a:srgbClr val="A4A3A4"/>
          </p15:clr>
        </p15:guide>
        <p15:guide id="27" orient="horz" pos="3996" userDrawn="1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280360-3C6D-A798-8CAC-A26D562C3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25" imgH="424" progId="TCLayout.ActiveDocument.1">
                  <p:embed/>
                </p:oleObj>
              </mc:Choice>
              <mc:Fallback>
                <p:oleObj name="think-cell Slide" r:id="rId3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280360-3C6D-A798-8CAC-A26D562C3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19338" y="6343650"/>
            <a:ext cx="56007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5288" y="6343650"/>
            <a:ext cx="5400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nter slide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8172450" y="6343650"/>
            <a:ext cx="2776537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t>03 May 2023</a:t>
            </a:fld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C2AD35-7761-4742-BEF1-3D0CAD2E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1303338"/>
            <a:ext cx="11460163" cy="4787899"/>
          </a:xfrm>
          <a:prstGeom prst="rect">
            <a:avLst/>
          </a:prstGeom>
        </p:spPr>
        <p:txBody>
          <a:bodyPr vert="horz" lIns="180000" tIns="180000" rIns="180000" bIns="180000" rtlCol="0">
            <a:noAutofit/>
          </a:bodyPr>
          <a:lstStyle/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GB"/>
              <a:t>To increase bullet level, select your text &gt; press ‘Tab’.</a:t>
            </a:r>
            <a:br>
              <a:rPr lang="en-GB"/>
            </a:br>
            <a:r>
              <a:rPr lang="en-GB"/>
              <a:t>To decrease bullet level, select your text &gt; press ‘Shift’ + ‘Tab’.</a:t>
            </a:r>
            <a:br>
              <a:rPr lang="en-GB"/>
            </a:br>
            <a:r>
              <a:rPr lang="en-GB"/>
              <a:t>To remove bullet levels, select your text &gt; right click &gt; press ‘bullets’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  <a:p>
            <a:pPr lvl="4"/>
            <a:endParaRPr lang="en-GB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7B7C2D6E-A9EC-414F-8A58-3207DA98D6C5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76239" y="6354213"/>
            <a:ext cx="820737" cy="247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75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770" r:id="rId2"/>
    <p:sldLayoutId id="2147483782" r:id="rId3"/>
    <p:sldLayoutId id="2147483785" r:id="rId4"/>
    <p:sldLayoutId id="2147483801" r:id="rId5"/>
    <p:sldLayoutId id="2147483802" r:id="rId6"/>
    <p:sldLayoutId id="2147483803" r:id="rId7"/>
    <p:sldLayoutId id="2147483665" r:id="rId8"/>
    <p:sldLayoutId id="2147483668" r:id="rId9"/>
    <p:sldLayoutId id="2147483786" r:id="rId10"/>
    <p:sldLayoutId id="2147483669" r:id="rId11"/>
    <p:sldLayoutId id="2147483670" r:id="rId12"/>
    <p:sldLayoutId id="2147483671" r:id="rId13"/>
    <p:sldLayoutId id="2147483728" r:id="rId14"/>
    <p:sldLayoutId id="2147483730" r:id="rId15"/>
    <p:sldLayoutId id="2147483765" r:id="rId16"/>
    <p:sldLayoutId id="2147483773" r:id="rId17"/>
    <p:sldLayoutId id="2147483774" r:id="rId18"/>
    <p:sldLayoutId id="2147483766" r:id="rId19"/>
    <p:sldLayoutId id="2147483673" r:id="rId20"/>
    <p:sldLayoutId id="2147483771" r:id="rId21"/>
    <p:sldLayoutId id="2147483768" r:id="rId22"/>
    <p:sldLayoutId id="2147483767" r:id="rId23"/>
    <p:sldLayoutId id="2147483776" r:id="rId24"/>
    <p:sldLayoutId id="2147483763" r:id="rId25"/>
    <p:sldLayoutId id="2147483675" r:id="rId26"/>
    <p:sldLayoutId id="2147483777" r:id="rId27"/>
    <p:sldLayoutId id="2147483788" r:id="rId28"/>
    <p:sldLayoutId id="2147483778" r:id="rId29"/>
    <p:sldLayoutId id="2147483762" r:id="rId30"/>
    <p:sldLayoutId id="2147483764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141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59946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0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93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922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A6A6A6"/>
          </p15:clr>
        </p15:guide>
        <p15:guide id="2" pos="7680" userDrawn="1">
          <p15:clr>
            <a:srgbClr val="A6A6A6"/>
          </p15:clr>
        </p15:guide>
        <p15:guide id="3" pos="230" userDrawn="1">
          <p15:clr>
            <a:srgbClr val="A6A6A6"/>
          </p15:clr>
        </p15:guide>
        <p15:guide id="4" pos="1301" userDrawn="1">
          <p15:clr>
            <a:srgbClr val="A6A6A6"/>
          </p15:clr>
        </p15:guide>
        <p15:guide id="5" pos="1461" userDrawn="1">
          <p15:clr>
            <a:srgbClr val="A6A6A6"/>
          </p15:clr>
        </p15:guide>
        <p15:guide id="6" pos="2531" userDrawn="1">
          <p15:clr>
            <a:srgbClr val="A6A6A6"/>
          </p15:clr>
        </p15:guide>
        <p15:guide id="7" pos="2690" userDrawn="1">
          <p15:clr>
            <a:srgbClr val="A6A6A6"/>
          </p15:clr>
        </p15:guide>
        <p15:guide id="8" pos="3759" userDrawn="1">
          <p15:clr>
            <a:srgbClr val="A6A6A6"/>
          </p15:clr>
        </p15:guide>
        <p15:guide id="9" pos="3920" userDrawn="1">
          <p15:clr>
            <a:srgbClr val="A6A6A6"/>
          </p15:clr>
        </p15:guide>
        <p15:guide id="10" pos="4989" userDrawn="1">
          <p15:clr>
            <a:srgbClr val="A6A6A6"/>
          </p15:clr>
        </p15:guide>
        <p15:guide id="11" pos="5148" userDrawn="1">
          <p15:clr>
            <a:srgbClr val="A6A6A6"/>
          </p15:clr>
        </p15:guide>
        <p15:guide id="12" pos="6218" userDrawn="1">
          <p15:clr>
            <a:srgbClr val="A6A6A6"/>
          </p15:clr>
        </p15:guide>
        <p15:guide id="13" pos="6378" userDrawn="1">
          <p15:clr>
            <a:srgbClr val="A6A6A6"/>
          </p15:clr>
        </p15:guide>
        <p15:guide id="14" pos="7449" userDrawn="1">
          <p15:clr>
            <a:srgbClr val="A6A6A6"/>
          </p15:clr>
        </p15:guide>
        <p15:guide id="15" orient="horz" userDrawn="1">
          <p15:clr>
            <a:srgbClr val="A6A6A6"/>
          </p15:clr>
        </p15:guide>
        <p15:guide id="16" orient="horz" pos="4315" userDrawn="1">
          <p15:clr>
            <a:srgbClr val="A6A6A6"/>
          </p15:clr>
        </p15:guide>
        <p15:guide id="17" orient="horz" pos="153" userDrawn="1">
          <p15:clr>
            <a:srgbClr val="A6A6A6"/>
          </p15:clr>
        </p15:guide>
        <p15:guide id="18" orient="horz" pos="686" userDrawn="1">
          <p15:clr>
            <a:srgbClr val="A6A6A6"/>
          </p15:clr>
        </p15:guide>
        <p15:guide id="19" orient="horz" pos="821" userDrawn="1">
          <p15:clr>
            <a:srgbClr val="A6A6A6"/>
          </p15:clr>
        </p15:guide>
        <p15:guide id="20" orient="horz" pos="1323" userDrawn="1">
          <p15:clr>
            <a:srgbClr val="A6A6A6"/>
          </p15:clr>
        </p15:guide>
        <p15:guide id="21" orient="horz" pos="2330" userDrawn="1">
          <p15:clr>
            <a:srgbClr val="A6A6A6"/>
          </p15:clr>
        </p15:guide>
        <p15:guide id="22" orient="horz" pos="3335" userDrawn="1">
          <p15:clr>
            <a:srgbClr val="A6A6A6"/>
          </p15:clr>
        </p15:guide>
        <p15:guide id="23" orient="horz" pos="3837" userDrawn="1">
          <p15:clr>
            <a:srgbClr val="A6A6A6"/>
          </p15:clr>
        </p15:guide>
        <p15:guide id="24" orient="horz" pos="4166" userDrawn="1">
          <p15:clr>
            <a:srgbClr val="A6A6A6"/>
          </p15:clr>
        </p15:guide>
        <p15:guide id="25" orient="horz" pos="1827" userDrawn="1">
          <p15:clr>
            <a:srgbClr val="A4A3A4"/>
          </p15:clr>
        </p15:guide>
        <p15:guide id="26" orient="horz" pos="2832" userDrawn="1">
          <p15:clr>
            <a:srgbClr val="A4A3A4"/>
          </p15:clr>
        </p15:guide>
        <p15:guide id="27" orient="horz" pos="3996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4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36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s://www.excel-easy.com/data-analysis/pivot-tables.html" TargetMode="Externa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30.png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37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4D6CAE-2D82-65F4-A235-7BA68290EC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3762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4D6CAE-2D82-65F4-A235-7BA68290EC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33A37B-02D0-8890-CFD2-49C17F16C6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err="1"/>
              <a:t>DigData</a:t>
            </a:r>
            <a:r>
              <a:rPr lang="en-GB"/>
              <a:t> – Excel Cheat Shee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5E23B74-EBA6-E3E1-4E30-B2A18106C6E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NEXT STEP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F42EE0-5C3F-AA55-7540-6D5361F1B1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02 May 202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22045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B087E6-29BE-9746-4BD7-E729C14CAAFF}"/>
              </a:ext>
            </a:extLst>
          </p:cNvPr>
          <p:cNvSpPr/>
          <p:nvPr/>
        </p:nvSpPr>
        <p:spPr>
          <a:xfrm>
            <a:off x="257175" y="257176"/>
            <a:ext cx="11706225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/>
              <a:t>Remove duplicate row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D72331-96C8-AAD7-8635-49A99683BDCB}"/>
              </a:ext>
            </a:extLst>
          </p:cNvPr>
          <p:cNvSpPr txBox="1"/>
          <p:nvPr/>
        </p:nvSpPr>
        <p:spPr>
          <a:xfrm flipH="1">
            <a:off x="257174" y="1070015"/>
            <a:ext cx="11706224" cy="646331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Go to the Data tab &gt; Remove Duplicates (circl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Ensure all columns are ticked, then click ‘OK’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C3724F2F-DF1D-1BC0-7CF0-C6DF2A5585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793074"/>
            <a:ext cx="5838826" cy="310835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7B4DD16-45DE-0989-3A9A-8D4D19A5DC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174" y="1793074"/>
            <a:ext cx="5774510" cy="3385857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0CCCC431-3EAA-30EB-257F-3DE8A467F8B2}"/>
              </a:ext>
            </a:extLst>
          </p:cNvPr>
          <p:cNvSpPr/>
          <p:nvPr/>
        </p:nvSpPr>
        <p:spPr>
          <a:xfrm>
            <a:off x="287888" y="1919039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1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6B9AF33-640E-72B8-95EB-7AAA587908D2}"/>
              </a:ext>
            </a:extLst>
          </p:cNvPr>
          <p:cNvSpPr/>
          <p:nvPr/>
        </p:nvSpPr>
        <p:spPr>
          <a:xfrm>
            <a:off x="6241187" y="1919038"/>
            <a:ext cx="232272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8336811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B087E6-29BE-9746-4BD7-E729C14CAAFF}"/>
              </a:ext>
            </a:extLst>
          </p:cNvPr>
          <p:cNvSpPr/>
          <p:nvPr/>
        </p:nvSpPr>
        <p:spPr>
          <a:xfrm>
            <a:off x="257175" y="257176"/>
            <a:ext cx="11706225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/>
              <a:t>Remove rows with missing valu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D72331-96C8-AAD7-8635-49A99683BDCB}"/>
              </a:ext>
            </a:extLst>
          </p:cNvPr>
          <p:cNvSpPr txBox="1"/>
          <p:nvPr/>
        </p:nvSpPr>
        <p:spPr>
          <a:xfrm flipH="1">
            <a:off x="257174" y="1070015"/>
            <a:ext cx="11706224" cy="646331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Home tab &gt; Find &amp; Select &gt; Got To Special &gt; Tick ‘Errors’ only (now the row/s with NA are highlight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Home tab &gt; Delete &gt; Delete Cells &gt; Select ‘Entire row’ &gt; OK (now the row/s containing NA is removed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FB3416-EA52-41A5-CD8D-2EEBE77C27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174" y="1893872"/>
            <a:ext cx="2007853" cy="188148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2DDCC07-090A-463E-0CA9-850B39B48C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174" y="3952884"/>
            <a:ext cx="2284361" cy="270701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07ECCA6-659C-B238-8BD5-95ACF41878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49526" y="1893872"/>
            <a:ext cx="4568722" cy="268301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59F4388-513B-5E7D-24EC-E638D53367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95851" y="4718970"/>
            <a:ext cx="2076290" cy="188185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9824491-494C-FA88-CCAF-21E26A7866A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66429" y="4718970"/>
            <a:ext cx="1940932" cy="194093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59756DC-9766-7D17-9741-B095B8E2AD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94674" y="1884577"/>
            <a:ext cx="4568723" cy="247286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E278EC7-949C-96BD-5C79-ED767FF41166}"/>
              </a:ext>
            </a:extLst>
          </p:cNvPr>
          <p:cNvSpPr/>
          <p:nvPr/>
        </p:nvSpPr>
        <p:spPr>
          <a:xfrm>
            <a:off x="287888" y="1919039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4D4D2E2-560A-9329-F883-E26760558A36}"/>
              </a:ext>
            </a:extLst>
          </p:cNvPr>
          <p:cNvSpPr/>
          <p:nvPr/>
        </p:nvSpPr>
        <p:spPr>
          <a:xfrm>
            <a:off x="360504" y="6340766"/>
            <a:ext cx="232272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2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784DADD-95B9-5CB4-FDEA-C531AD014046}"/>
              </a:ext>
            </a:extLst>
          </p:cNvPr>
          <p:cNvSpPr/>
          <p:nvPr/>
        </p:nvSpPr>
        <p:spPr>
          <a:xfrm>
            <a:off x="2680240" y="1944752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3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A58E9A-C531-2E34-C2AD-14D70FEC6757}"/>
              </a:ext>
            </a:extLst>
          </p:cNvPr>
          <p:cNvSpPr/>
          <p:nvPr/>
        </p:nvSpPr>
        <p:spPr>
          <a:xfrm>
            <a:off x="4797327" y="4754415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71634C-6801-997B-0B8D-4B8BF33E637A}"/>
              </a:ext>
            </a:extLst>
          </p:cNvPr>
          <p:cNvSpPr/>
          <p:nvPr/>
        </p:nvSpPr>
        <p:spPr>
          <a:xfrm>
            <a:off x="6802925" y="5163780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5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081E322-3223-0FB9-041B-0A13185583FD}"/>
              </a:ext>
            </a:extLst>
          </p:cNvPr>
          <p:cNvSpPr/>
          <p:nvPr/>
        </p:nvSpPr>
        <p:spPr>
          <a:xfrm>
            <a:off x="7425388" y="1909744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7232201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B087E6-29BE-9746-4BD7-E729C14CAAFF}"/>
              </a:ext>
            </a:extLst>
          </p:cNvPr>
          <p:cNvSpPr/>
          <p:nvPr/>
        </p:nvSpPr>
        <p:spPr>
          <a:xfrm>
            <a:off x="257175" y="257176"/>
            <a:ext cx="11706225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/>
              <a:t>Make all negative values positiv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D72331-96C8-AAD7-8635-49A99683BDCB}"/>
              </a:ext>
            </a:extLst>
          </p:cNvPr>
          <p:cNvSpPr txBox="1"/>
          <p:nvPr/>
        </p:nvSpPr>
        <p:spPr>
          <a:xfrm flipH="1">
            <a:off x="257174" y="1070015"/>
            <a:ext cx="11706224" cy="12003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n a new column, select the first value below the heading r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Enter </a:t>
            </a:r>
            <a:r>
              <a:rPr lang="en-GB" sz="1600" b="1" dirty="0">
                <a:highlight>
                  <a:srgbClr val="C0C0C0"/>
                </a:highlight>
                <a:latin typeface="Consolas" panose="020B0609020204030204" pitchFamily="49" charset="0"/>
              </a:rPr>
              <a:t>=ABS()</a:t>
            </a:r>
            <a:r>
              <a:rPr lang="en-GB" dirty="0"/>
              <a:t> and within the backets click/enter the cell value of the first value in the column we’re going to fi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elect the rows in the column you’d like to fill, Home tab &gt; Fill &gt; Down (Tip: you can </a:t>
            </a:r>
            <a:r>
              <a:rPr lang="en-GB"/>
              <a:t>use </a:t>
            </a:r>
            <a:r>
              <a:rPr lang="en-GB" err="1"/>
              <a:t>Ctrl</a:t>
            </a:r>
            <a:r>
              <a:rPr lang="en-GB" dirty="0" err="1"/>
              <a:t>+D</a:t>
            </a:r>
            <a:r>
              <a:rPr lang="en-GB" dirty="0"/>
              <a:t> as a shortcu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opy the new values, select the column values we’re fixing, Home &gt; Paste &gt; Paste Values, delete new column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4B3F42B6-89CC-CDBE-8707-73F8AF8A0C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2025" y="2447051"/>
            <a:ext cx="1195769" cy="110136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DE33767B-1EAF-6571-64C3-06FE7D9340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173" y="2402864"/>
            <a:ext cx="5237615" cy="1470096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8F89676A-79F9-8C1F-B2E8-F18C9D2B90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173" y="4074072"/>
            <a:ext cx="5237615" cy="2526752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C0828952-EB42-D558-9F48-BFC0987729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02025" y="3704783"/>
            <a:ext cx="2485630" cy="281195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54FFEE1B-A9EA-9908-05B2-A929100250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98492" y="3700649"/>
            <a:ext cx="2485630" cy="281608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1397A4D0-0CD1-12D9-7364-7F45D4494FD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50569" y="2355497"/>
            <a:ext cx="1306606" cy="2147005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79B1EE00-B066-AE77-2CC4-F0B361B6FD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94960" y="3700649"/>
            <a:ext cx="1184734" cy="2865575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74EB630C-7071-9743-AED9-603391EDA10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971994" y="2434929"/>
            <a:ext cx="1032906" cy="1113488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F05C901A-675F-E10C-C308-CE259C20E0DF}"/>
              </a:ext>
            </a:extLst>
          </p:cNvPr>
          <p:cNvSpPr/>
          <p:nvPr/>
        </p:nvSpPr>
        <p:spPr>
          <a:xfrm>
            <a:off x="782838" y="2434929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1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181C710-B21F-65CE-F9B9-78F1C357D317}"/>
              </a:ext>
            </a:extLst>
          </p:cNvPr>
          <p:cNvSpPr/>
          <p:nvPr/>
        </p:nvSpPr>
        <p:spPr>
          <a:xfrm>
            <a:off x="4949639" y="5577370"/>
            <a:ext cx="232272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2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F89E7FE-A20A-6F29-F9DE-01EE07E091C0}"/>
              </a:ext>
            </a:extLst>
          </p:cNvPr>
          <p:cNvSpPr/>
          <p:nvPr/>
        </p:nvSpPr>
        <p:spPr>
          <a:xfrm>
            <a:off x="6534477" y="2968627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3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A58D21B-80D1-CCEE-4EAD-218A4C1AC6AC}"/>
              </a:ext>
            </a:extLst>
          </p:cNvPr>
          <p:cNvSpPr/>
          <p:nvPr/>
        </p:nvSpPr>
        <p:spPr>
          <a:xfrm>
            <a:off x="5961776" y="3788847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4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7710520-6ECF-52E9-DBFA-3F023AA59628}"/>
              </a:ext>
            </a:extLst>
          </p:cNvPr>
          <p:cNvSpPr/>
          <p:nvPr/>
        </p:nvSpPr>
        <p:spPr>
          <a:xfrm>
            <a:off x="10160848" y="2441741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5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9DF53A65-EAC8-183B-EEFD-7ED6372B2D4B}"/>
              </a:ext>
            </a:extLst>
          </p:cNvPr>
          <p:cNvSpPr/>
          <p:nvPr/>
        </p:nvSpPr>
        <p:spPr>
          <a:xfrm>
            <a:off x="10295072" y="6011961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6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930828B-2084-CC67-F40D-DEC3858167FA}"/>
              </a:ext>
            </a:extLst>
          </p:cNvPr>
          <p:cNvSpPr/>
          <p:nvPr/>
        </p:nvSpPr>
        <p:spPr>
          <a:xfrm>
            <a:off x="11694950" y="3241269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7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529361D-609D-707B-81A2-91BB02493089}"/>
              </a:ext>
            </a:extLst>
          </p:cNvPr>
          <p:cNvSpPr/>
          <p:nvPr/>
        </p:nvSpPr>
        <p:spPr>
          <a:xfrm>
            <a:off x="11134286" y="3997676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4864964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B087E6-29BE-9746-4BD7-E729C14CAAFF}"/>
              </a:ext>
            </a:extLst>
          </p:cNvPr>
          <p:cNvSpPr/>
          <p:nvPr/>
        </p:nvSpPr>
        <p:spPr>
          <a:xfrm>
            <a:off x="257175" y="257176"/>
            <a:ext cx="11706225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/>
              <a:t>Add row means colum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D72331-96C8-AAD7-8635-49A99683BDCB}"/>
              </a:ext>
            </a:extLst>
          </p:cNvPr>
          <p:cNvSpPr txBox="1"/>
          <p:nvPr/>
        </p:nvSpPr>
        <p:spPr>
          <a:xfrm flipH="1">
            <a:off x="257174" y="1070015"/>
            <a:ext cx="11706224" cy="923330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ype the new column heading, select the first cell bel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Enter </a:t>
            </a:r>
            <a:r>
              <a:rPr lang="en-GB" sz="1600" b="1" dirty="0">
                <a:highlight>
                  <a:srgbClr val="C0C0C0"/>
                </a:highlight>
                <a:latin typeface="Consolas" panose="020B0609020204030204" pitchFamily="49" charset="0"/>
              </a:rPr>
              <a:t>=AVERAGE()</a:t>
            </a:r>
            <a:r>
              <a:rPr lang="en-GB" dirty="0"/>
              <a:t> and within the backets highlight the cells we’re finding the mean for, then fill down (as previous slid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You can wrap the above function with ROUND(n) to round the value to n decimal plac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803EB4F-D5C4-A601-A097-DF898DCB07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174" y="2376786"/>
            <a:ext cx="2803939" cy="322207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B49EC55-84E5-5E6D-BE58-6CE210C8AF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4026" y="2376785"/>
            <a:ext cx="2458737" cy="322207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4FC03DA-27F8-FB7E-429D-B86C0A034F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5677" y="2376785"/>
            <a:ext cx="5737721" cy="269294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7C42D34-E081-F8D9-484C-F4DC6D1F280D}"/>
              </a:ext>
            </a:extLst>
          </p:cNvPr>
          <p:cNvSpPr/>
          <p:nvPr/>
        </p:nvSpPr>
        <p:spPr>
          <a:xfrm>
            <a:off x="287888" y="2376239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1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6B66781-E7AF-2308-9B93-19C08C32FE06}"/>
              </a:ext>
            </a:extLst>
          </p:cNvPr>
          <p:cNvSpPr/>
          <p:nvPr/>
        </p:nvSpPr>
        <p:spPr>
          <a:xfrm>
            <a:off x="3523154" y="2401952"/>
            <a:ext cx="232272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81C45F3-865E-1382-F3DD-5EA9C0334E79}"/>
              </a:ext>
            </a:extLst>
          </p:cNvPr>
          <p:cNvSpPr/>
          <p:nvPr/>
        </p:nvSpPr>
        <p:spPr>
          <a:xfrm>
            <a:off x="6246404" y="2401952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5409634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B087E6-29BE-9746-4BD7-E729C14CAAFF}"/>
              </a:ext>
            </a:extLst>
          </p:cNvPr>
          <p:cNvSpPr/>
          <p:nvPr/>
        </p:nvSpPr>
        <p:spPr>
          <a:xfrm>
            <a:off x="257175" y="257176"/>
            <a:ext cx="11706225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/>
              <a:t>Filter data and remove row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D72331-96C8-AAD7-8635-49A99683BDCB}"/>
              </a:ext>
            </a:extLst>
          </p:cNvPr>
          <p:cNvSpPr txBox="1"/>
          <p:nvPr/>
        </p:nvSpPr>
        <p:spPr>
          <a:xfrm flipH="1">
            <a:off x="257174" y="1070015"/>
            <a:ext cx="11706224" cy="923330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elect all data, Home &gt; Sort &amp; Filter &gt; Filter (dropdown buttons appear besides heading, autofit column width if desir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lick dropdown for column to be filtered, tick the values you want to remove &gt; O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Highlight all rows &gt; right-click &gt; Delete Row &gt; click dropdown button &gt; Clear Filter From “Column”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E69EA84-A1B6-03FD-40F1-5C705FBD0F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9265" y="2088603"/>
            <a:ext cx="1526688" cy="166251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D2AC2BC-A6CF-827B-1327-8C958263D9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7004" y="2088603"/>
            <a:ext cx="4810982" cy="177033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99E2064-B314-064B-F906-6DB1E26825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86690" y="2088603"/>
            <a:ext cx="1976708" cy="268079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70B82B4-2EE1-E43D-9AE1-0F04B02C13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5883" y="4093038"/>
            <a:ext cx="7452309" cy="112854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2D7515E-6B0A-CCCC-6359-AA287A4F4B0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8460" y="5356297"/>
            <a:ext cx="2130805" cy="122151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8CB7682-45BF-6027-923D-C97EB436D44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14111" y="5288047"/>
            <a:ext cx="4018384" cy="135801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C1A9547E-05ED-6733-527D-EAE633CD6BDC}"/>
              </a:ext>
            </a:extLst>
          </p:cNvPr>
          <p:cNvSpPr/>
          <p:nvPr/>
        </p:nvSpPr>
        <p:spPr>
          <a:xfrm>
            <a:off x="2904592" y="2153825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1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AD46AD9-9AFB-774B-5C2F-7C0606B97ECD}"/>
              </a:ext>
            </a:extLst>
          </p:cNvPr>
          <p:cNvSpPr/>
          <p:nvPr/>
        </p:nvSpPr>
        <p:spPr>
          <a:xfrm>
            <a:off x="4949639" y="3494240"/>
            <a:ext cx="232272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2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B5A9757-EB7D-C912-AFAD-51B503C3DDE7}"/>
              </a:ext>
            </a:extLst>
          </p:cNvPr>
          <p:cNvSpPr/>
          <p:nvPr/>
        </p:nvSpPr>
        <p:spPr>
          <a:xfrm>
            <a:off x="10034032" y="4372087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3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EFFFE95-C551-E528-D0CD-B38C7ACC190C}"/>
              </a:ext>
            </a:extLst>
          </p:cNvPr>
          <p:cNvSpPr/>
          <p:nvPr/>
        </p:nvSpPr>
        <p:spPr>
          <a:xfrm>
            <a:off x="257174" y="4826979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4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4C5BB5-0C14-E72A-4F20-18E69C838470}"/>
              </a:ext>
            </a:extLst>
          </p:cNvPr>
          <p:cNvSpPr/>
          <p:nvPr/>
        </p:nvSpPr>
        <p:spPr>
          <a:xfrm>
            <a:off x="888687" y="5824441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5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DC51EA-A695-B13E-2AC9-7CA199FA3D22}"/>
              </a:ext>
            </a:extLst>
          </p:cNvPr>
          <p:cNvSpPr/>
          <p:nvPr/>
        </p:nvSpPr>
        <p:spPr>
          <a:xfrm>
            <a:off x="3173040" y="6282052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137684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B087E6-29BE-9746-4BD7-E729C14CAAFF}"/>
              </a:ext>
            </a:extLst>
          </p:cNvPr>
          <p:cNvSpPr/>
          <p:nvPr/>
        </p:nvSpPr>
        <p:spPr>
          <a:xfrm>
            <a:off x="257175" y="257176"/>
            <a:ext cx="11706225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/>
              <a:t>Filter data onl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D72331-96C8-AAD7-8635-49A99683BDCB}"/>
              </a:ext>
            </a:extLst>
          </p:cNvPr>
          <p:cNvSpPr txBox="1"/>
          <p:nvPr/>
        </p:nvSpPr>
        <p:spPr>
          <a:xfrm flipH="1">
            <a:off x="257174" y="1070015"/>
            <a:ext cx="11706224" cy="923330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lick dropdown for column to be filtered &gt; Number Filters &gt; Less Than Or Equal To (or whichever filter requir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Enter parameter for filter &gt; O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i="1" dirty="0"/>
              <a:t>In this example, score is out of 100 so we’re filtering the “Science” column to show values &lt;= 10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7D2791-6EEA-877E-4849-0537C696A8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174" y="2111830"/>
            <a:ext cx="4614755" cy="33009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580BD6E-25E4-26CE-61CA-CDE0ACC8CF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9332" y="5018073"/>
            <a:ext cx="5204628" cy="158275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624108D-CB05-9E36-F23D-3D33E62D75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9332" y="2111830"/>
            <a:ext cx="6211306" cy="275282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704C9D1-50BA-86B9-C1EB-497CAF1C23A9}"/>
              </a:ext>
            </a:extLst>
          </p:cNvPr>
          <p:cNvSpPr/>
          <p:nvPr/>
        </p:nvSpPr>
        <p:spPr>
          <a:xfrm>
            <a:off x="2350014" y="2236527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03D0ECB-D136-3C23-F3A8-8A43ED888A86}"/>
              </a:ext>
            </a:extLst>
          </p:cNvPr>
          <p:cNvSpPr/>
          <p:nvPr/>
        </p:nvSpPr>
        <p:spPr>
          <a:xfrm>
            <a:off x="6761871" y="2229977"/>
            <a:ext cx="232272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2B9030A-3093-1080-1676-05B7E83E70BE}"/>
              </a:ext>
            </a:extLst>
          </p:cNvPr>
          <p:cNvSpPr/>
          <p:nvPr/>
        </p:nvSpPr>
        <p:spPr>
          <a:xfrm>
            <a:off x="9802493" y="6139248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3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2D0CD00-A959-F3A9-1EF7-62A648BA58FD}"/>
              </a:ext>
            </a:extLst>
          </p:cNvPr>
          <p:cNvSpPr/>
          <p:nvPr/>
        </p:nvSpPr>
        <p:spPr>
          <a:xfrm>
            <a:off x="4797327" y="4754415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68542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E401CDD-32C0-B0FD-BC1D-4152DE7610B0}"/>
              </a:ext>
            </a:extLst>
          </p:cNvPr>
          <p:cNvSpPr/>
          <p:nvPr/>
        </p:nvSpPr>
        <p:spPr>
          <a:xfrm>
            <a:off x="257175" y="257176"/>
            <a:ext cx="11706225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3200" b="1"/>
              <a:t>Quick Tips – Excel Shortcuts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4D3BD10-9C9C-1489-9F2E-2A419DA3E8FA}"/>
              </a:ext>
            </a:extLst>
          </p:cNvPr>
          <p:cNvSpPr txBox="1"/>
          <p:nvPr/>
        </p:nvSpPr>
        <p:spPr>
          <a:xfrm flipH="1">
            <a:off x="257174" y="1070015"/>
            <a:ext cx="11706224" cy="5509200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600" b="1" u="sng"/>
              <a:t>Quick select data</a:t>
            </a:r>
            <a:endParaRPr lang="en-US" sz="1600" b="1" u="sng"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GB" sz="1600">
                <a:cs typeface="Calibri"/>
              </a:rPr>
              <a:t>To select entire table:</a:t>
            </a:r>
            <a:endParaRPr lang="en-US" sz="1600" b="1" i="1">
              <a:cs typeface="Calibri"/>
            </a:endParaRPr>
          </a:p>
          <a:p>
            <a:pPr marL="742950" lvl="1" indent="-285750">
              <a:buFont typeface="Arial,Sans-Serif"/>
              <a:buChar char="•"/>
            </a:pPr>
            <a:r>
              <a:rPr lang="en-GB" sz="1600">
                <a:cs typeface="Calibri"/>
              </a:rPr>
              <a:t>Select the first cell of the data (e.g., A1)</a:t>
            </a:r>
            <a:endParaRPr lang="en-US" sz="1600" b="1" i="1">
              <a:cs typeface="Calibri"/>
            </a:endParaRPr>
          </a:p>
          <a:p>
            <a:pPr marL="742950" lvl="1" indent="-285750">
              <a:buFont typeface="Arial,Sans-Serif"/>
              <a:buChar char="•"/>
            </a:pPr>
            <a:r>
              <a:rPr lang="en-GB" sz="1600" b="1" err="1">
                <a:cs typeface="Calibri"/>
              </a:rPr>
              <a:t>Ctrl+Shift+End</a:t>
            </a:r>
            <a:endParaRPr lang="en-US" sz="1600" b="1" i="1"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GB" sz="1600">
                <a:cs typeface="Calibri"/>
              </a:rPr>
              <a:t>To select column:</a:t>
            </a:r>
            <a:endParaRPr lang="en-GB" sz="1600" b="1">
              <a:cs typeface="Calibri"/>
            </a:endParaRPr>
          </a:p>
          <a:p>
            <a:pPr marL="742950" lvl="1" indent="-285750">
              <a:buFont typeface="Arial"/>
              <a:buChar char="•"/>
            </a:pPr>
            <a:r>
              <a:rPr lang="en-GB" sz="1600">
                <a:cs typeface="Calibri"/>
              </a:rPr>
              <a:t>Select the first cell of the column</a:t>
            </a:r>
          </a:p>
          <a:p>
            <a:pPr marL="742950" lvl="1" indent="-285750">
              <a:buFont typeface="Arial"/>
              <a:buChar char="•"/>
            </a:pPr>
            <a:r>
              <a:rPr lang="en-GB" sz="1600" b="1" err="1">
                <a:cs typeface="Calibri"/>
              </a:rPr>
              <a:t>Ctrl+Shift+Down</a:t>
            </a:r>
            <a:r>
              <a:rPr lang="en-GB" sz="1600">
                <a:cs typeface="Calibri"/>
              </a:rPr>
              <a:t> (arrow key)</a:t>
            </a:r>
            <a:endParaRPr lang="en-GB" sz="1600" b="1"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GB" sz="1600">
                <a:cs typeface="Calibri"/>
              </a:rPr>
              <a:t>To select row:</a:t>
            </a:r>
          </a:p>
          <a:p>
            <a:pPr marL="742950" lvl="1" indent="-285750">
              <a:buFont typeface="Arial"/>
              <a:buChar char="•"/>
            </a:pPr>
            <a:r>
              <a:rPr lang="en-GB" sz="1600">
                <a:cs typeface="Calibri"/>
              </a:rPr>
              <a:t>Select the first cell of the row</a:t>
            </a:r>
          </a:p>
          <a:p>
            <a:pPr marL="742950" lvl="1" indent="-285750">
              <a:buFont typeface="Arial"/>
              <a:buChar char="•"/>
            </a:pPr>
            <a:r>
              <a:rPr lang="en-GB" sz="1600" b="1" err="1">
                <a:cs typeface="Calibri"/>
              </a:rPr>
              <a:t>Ctrl+Shift+Right</a:t>
            </a:r>
            <a:endParaRPr lang="en-GB" sz="1600">
              <a:cs typeface="Calibri"/>
            </a:endParaRPr>
          </a:p>
          <a:p>
            <a:endParaRPr lang="en-GB" sz="1600">
              <a:cs typeface="Calibri"/>
            </a:endParaRPr>
          </a:p>
          <a:p>
            <a:r>
              <a:rPr lang="en-GB" sz="1600" b="1" u="sng">
                <a:cs typeface="Calibri"/>
              </a:rPr>
              <a:t>Quick fill cells downwards</a:t>
            </a:r>
          </a:p>
          <a:p>
            <a:pPr marL="285750" indent="-285750">
              <a:buFont typeface="Arial"/>
              <a:buChar char="•"/>
            </a:pPr>
            <a:r>
              <a:rPr lang="en-GB" sz="1600">
                <a:cs typeface="Calibri"/>
              </a:rPr>
              <a:t>Highlight the cell you'd like to fill from, and the cells you'd like to fill</a:t>
            </a:r>
            <a:endParaRPr lang="en-GB" sz="1600" b="1" u="sng"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GB" sz="1600" b="1" err="1">
                <a:cs typeface="Calibri"/>
              </a:rPr>
              <a:t>Ctrl+D</a:t>
            </a:r>
            <a:endParaRPr lang="en-GB" sz="1600" b="1"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GB" sz="1600" i="1">
                <a:cs typeface="Calibri"/>
              </a:rPr>
              <a:t>This shortcut replicates the formula from the first cell across the other highlighted cells</a:t>
            </a:r>
          </a:p>
          <a:p>
            <a:pPr marL="285750" indent="-285750">
              <a:buFont typeface="Arial"/>
              <a:buChar char="•"/>
            </a:pPr>
            <a:r>
              <a:rPr lang="en-GB" sz="1600" i="1">
                <a:cs typeface="Calibri"/>
              </a:rPr>
              <a:t>If there is no formula, then the character/number value is duplicated instead</a:t>
            </a:r>
          </a:p>
          <a:p>
            <a:pPr marL="285750" indent="-285750">
              <a:buFont typeface="Arial"/>
              <a:buChar char="•"/>
            </a:pPr>
            <a:endParaRPr lang="en-GB" sz="1600" i="1">
              <a:cs typeface="Calibri"/>
            </a:endParaRPr>
          </a:p>
          <a:p>
            <a:r>
              <a:rPr lang="en-GB" sz="1600" b="1" u="sng">
                <a:cs typeface="Calibri"/>
              </a:rPr>
              <a:t>Quick flash fill downwards</a:t>
            </a:r>
          </a:p>
          <a:p>
            <a:pPr marL="285750" indent="-285750">
              <a:buFont typeface="Arial,Sans-Serif"/>
              <a:buChar char="•"/>
            </a:pPr>
            <a:r>
              <a:rPr lang="en-GB" sz="1600">
                <a:cs typeface="Calibri"/>
              </a:rPr>
              <a:t>Enter a few examples you want as the output</a:t>
            </a:r>
          </a:p>
          <a:p>
            <a:pPr marL="285750" indent="-285750">
              <a:buFont typeface="Arial,Sans-Serif"/>
              <a:buChar char="•"/>
            </a:pPr>
            <a:r>
              <a:rPr lang="en-GB" sz="1600">
                <a:cs typeface="Calibri"/>
              </a:rPr>
              <a:t>Highlight these example cells, and the cells you'd like to fill</a:t>
            </a:r>
            <a:endParaRPr lang="en-GB"/>
          </a:p>
          <a:p>
            <a:pPr marL="285750" indent="-285750">
              <a:buFont typeface="Arial,Sans-Serif"/>
              <a:buChar char="•"/>
            </a:pPr>
            <a:r>
              <a:rPr lang="en-GB" sz="1600" b="1" err="1">
                <a:cs typeface="Calibri"/>
              </a:rPr>
              <a:t>Ctrl+E</a:t>
            </a:r>
            <a:endParaRPr lang="en-GB" sz="1600" err="1"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GB" sz="1600" i="1">
                <a:cs typeface="Calibri"/>
              </a:rPr>
              <a:t>This shortcut predicts and automatically fills the highlighted cells according to the identified pattern</a:t>
            </a:r>
          </a:p>
        </p:txBody>
      </p:sp>
    </p:spTree>
    <p:extLst>
      <p:ext uri="{BB962C8B-B14F-4D97-AF65-F5344CB8AC3E}">
        <p14:creationId xmlns:p14="http://schemas.microsoft.com/office/powerpoint/2010/main" val="27244881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0990F3-6C3A-16FE-E65D-1FA7FCD5A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d of Slide Deck</a:t>
            </a:r>
          </a:p>
        </p:txBody>
      </p:sp>
    </p:spTree>
    <p:extLst>
      <p:ext uri="{BB962C8B-B14F-4D97-AF65-F5344CB8AC3E}">
        <p14:creationId xmlns:p14="http://schemas.microsoft.com/office/powerpoint/2010/main" val="2750868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6E9BF66-C069-8980-6E36-BF50AEF2B8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942063"/>
              </p:ext>
            </p:extLst>
          </p:nvPr>
        </p:nvGraphicFramePr>
        <p:xfrm>
          <a:off x="1952626" y="1127519"/>
          <a:ext cx="8286748" cy="4602962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904453">
                  <a:extLst>
                    <a:ext uri="{9D8B030D-6E8A-4147-A177-3AD203B41FA5}">
                      <a16:colId xmlns:a16="http://schemas.microsoft.com/office/drawing/2014/main" val="4136600294"/>
                    </a:ext>
                  </a:extLst>
                </a:gridCol>
                <a:gridCol w="391115">
                  <a:extLst>
                    <a:ext uri="{9D8B030D-6E8A-4147-A177-3AD203B41FA5}">
                      <a16:colId xmlns:a16="http://schemas.microsoft.com/office/drawing/2014/main" val="2718482069"/>
                    </a:ext>
                  </a:extLst>
                </a:gridCol>
                <a:gridCol w="806674">
                  <a:extLst>
                    <a:ext uri="{9D8B030D-6E8A-4147-A177-3AD203B41FA5}">
                      <a16:colId xmlns:a16="http://schemas.microsoft.com/office/drawing/2014/main" val="1795114998"/>
                    </a:ext>
                  </a:extLst>
                </a:gridCol>
                <a:gridCol w="953343">
                  <a:extLst>
                    <a:ext uri="{9D8B030D-6E8A-4147-A177-3AD203B41FA5}">
                      <a16:colId xmlns:a16="http://schemas.microsoft.com/office/drawing/2014/main" val="3158615226"/>
                    </a:ext>
                  </a:extLst>
                </a:gridCol>
                <a:gridCol w="1417792">
                  <a:extLst>
                    <a:ext uri="{9D8B030D-6E8A-4147-A177-3AD203B41FA5}">
                      <a16:colId xmlns:a16="http://schemas.microsoft.com/office/drawing/2014/main" val="2993309967"/>
                    </a:ext>
                  </a:extLst>
                </a:gridCol>
                <a:gridCol w="977787">
                  <a:extLst>
                    <a:ext uri="{9D8B030D-6E8A-4147-A177-3AD203B41FA5}">
                      <a16:colId xmlns:a16="http://schemas.microsoft.com/office/drawing/2014/main" val="1142176000"/>
                    </a:ext>
                  </a:extLst>
                </a:gridCol>
                <a:gridCol w="928898">
                  <a:extLst>
                    <a:ext uri="{9D8B030D-6E8A-4147-A177-3AD203B41FA5}">
                      <a16:colId xmlns:a16="http://schemas.microsoft.com/office/drawing/2014/main" val="3143756973"/>
                    </a:ext>
                  </a:extLst>
                </a:gridCol>
                <a:gridCol w="953343">
                  <a:extLst>
                    <a:ext uri="{9D8B030D-6E8A-4147-A177-3AD203B41FA5}">
                      <a16:colId xmlns:a16="http://schemas.microsoft.com/office/drawing/2014/main" val="2365557188"/>
                    </a:ext>
                  </a:extLst>
                </a:gridCol>
                <a:gridCol w="953343">
                  <a:extLst>
                    <a:ext uri="{9D8B030D-6E8A-4147-A177-3AD203B41FA5}">
                      <a16:colId xmlns:a16="http://schemas.microsoft.com/office/drawing/2014/main" val="305716022"/>
                    </a:ext>
                  </a:extLst>
                </a:gridCol>
              </a:tblGrid>
              <a:tr h="328783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Class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1" u="none" strike="noStrike">
                          <a:solidFill>
                            <a:srgbClr val="000000"/>
                          </a:solidFill>
                          <a:effectLst/>
                        </a:rPr>
                        <a:t>ID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Name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1" u="none" strike="noStrike">
                          <a:solidFill>
                            <a:srgbClr val="000000"/>
                          </a:solidFill>
                          <a:effectLst/>
                        </a:rPr>
                        <a:t>Gender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1" u="none" strike="noStrike">
                          <a:solidFill>
                            <a:srgbClr val="000000"/>
                          </a:solidFill>
                          <a:effectLst/>
                        </a:rPr>
                        <a:t>Attendance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1" u="none" strike="noStrike">
                          <a:solidFill>
                            <a:srgbClr val="000000"/>
                          </a:solidFill>
                          <a:effectLst/>
                        </a:rPr>
                        <a:t>Revised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Science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1" u="none" strike="noStrike">
                          <a:solidFill>
                            <a:srgbClr val="000000"/>
                          </a:solidFill>
                          <a:effectLst/>
                        </a:rPr>
                        <a:t>Maths1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Maths2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311258964"/>
                  </a:ext>
                </a:extLst>
              </a:tr>
              <a:tr h="328783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Class A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1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Tom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FF0000"/>
                          </a:solidFill>
                          <a:effectLst/>
                        </a:rPr>
                        <a:t>X</a:t>
                      </a:r>
                      <a:endParaRPr lang="en-GB" sz="1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Good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RUE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98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80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81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541125735"/>
                  </a:ext>
                </a:extLst>
              </a:tr>
              <a:tr h="328783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Class A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2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Ben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M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Satisfactory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TRUE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72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81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76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89598309"/>
                  </a:ext>
                </a:extLst>
              </a:tr>
              <a:tr h="328783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Class A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3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Lily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F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Good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TRUE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FF0000"/>
                          </a:solidFill>
                          <a:effectLst/>
                        </a:rPr>
                        <a:t>-84</a:t>
                      </a:r>
                      <a:endParaRPr lang="en-GB" sz="1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92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88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640169508"/>
                  </a:ext>
                </a:extLst>
              </a:tr>
              <a:tr h="328783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Class A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4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Ivy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F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Good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TRUE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FF0000"/>
                          </a:solidFill>
                          <a:effectLst/>
                        </a:rPr>
                        <a:t>910</a:t>
                      </a:r>
                      <a:endParaRPr lang="en-GB" sz="1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78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74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83397556"/>
                  </a:ext>
                </a:extLst>
              </a:tr>
              <a:tr h="328783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Class A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5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Alex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M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Good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TRUE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77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76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83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928719244"/>
                  </a:ext>
                </a:extLst>
              </a:tr>
              <a:tr h="328783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Class A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6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Oliver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M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Satisfactory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TRUE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FF0000"/>
                          </a:solidFill>
                          <a:effectLst/>
                        </a:rPr>
                        <a:t>#N/A</a:t>
                      </a:r>
                      <a:endParaRPr lang="en-GB" sz="1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85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82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168582948"/>
                  </a:ext>
                </a:extLst>
              </a:tr>
              <a:tr h="328783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Class B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7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Hazel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F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Good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FALSE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81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83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87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994916588"/>
                  </a:ext>
                </a:extLst>
              </a:tr>
              <a:tr h="328783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Class B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8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Emily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F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Poor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RUE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85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83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91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54083694"/>
                  </a:ext>
                </a:extLst>
              </a:tr>
              <a:tr h="328783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Class B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9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John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M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Great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TRUE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95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91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87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00636652"/>
                  </a:ext>
                </a:extLst>
              </a:tr>
              <a:tr h="328783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Class B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10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James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M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Poor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FALSE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73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88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80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271983864"/>
                  </a:ext>
                </a:extLst>
              </a:tr>
              <a:tr h="328783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Class B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11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Anna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F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Great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TRUE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96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89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85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790091237"/>
                  </a:ext>
                </a:extLst>
              </a:tr>
              <a:tr h="328783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Class B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12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Rose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F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Good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TRUE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90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77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9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794460457"/>
                  </a:ext>
                </a:extLst>
              </a:tr>
              <a:tr h="328783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FF0000"/>
                          </a:solidFill>
                          <a:effectLst/>
                        </a:rPr>
                        <a:t>Class B</a:t>
                      </a:r>
                      <a:endParaRPr lang="en-GB" sz="1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FF0000"/>
                          </a:solidFill>
                          <a:effectLst/>
                        </a:rPr>
                        <a:t>12</a:t>
                      </a:r>
                      <a:endParaRPr lang="en-GB" sz="1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FF0000"/>
                          </a:solidFill>
                          <a:effectLst/>
                        </a:rPr>
                        <a:t>Rose</a:t>
                      </a:r>
                      <a:endParaRPr lang="en-GB" sz="1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FF0000"/>
                          </a:solidFill>
                          <a:effectLst/>
                        </a:rPr>
                        <a:t>F</a:t>
                      </a:r>
                      <a:endParaRPr lang="en-GB" sz="1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Good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FF0000"/>
                          </a:solidFill>
                          <a:effectLst/>
                        </a:rPr>
                        <a:t>TRUE</a:t>
                      </a:r>
                      <a:endParaRPr lang="en-GB" sz="1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FF0000"/>
                          </a:solidFill>
                          <a:effectLst/>
                        </a:rPr>
                        <a:t>90</a:t>
                      </a:r>
                      <a:endParaRPr lang="en-GB" sz="1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>
                          <a:solidFill>
                            <a:srgbClr val="FF0000"/>
                          </a:solidFill>
                          <a:effectLst/>
                        </a:rPr>
                        <a:t>77</a:t>
                      </a:r>
                      <a:endParaRPr lang="en-GB" sz="1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u="none" strike="noStrike" dirty="0">
                          <a:solidFill>
                            <a:srgbClr val="FF0000"/>
                          </a:solidFill>
                          <a:effectLst/>
                        </a:rPr>
                        <a:t>79</a:t>
                      </a:r>
                      <a:endParaRPr lang="en-GB" sz="1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0465354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7B2B612-3B6F-61BC-0FA6-E19E69551514}"/>
              </a:ext>
            </a:extLst>
          </p:cNvPr>
          <p:cNvSpPr txBox="1"/>
          <p:nvPr/>
        </p:nvSpPr>
        <p:spPr>
          <a:xfrm flipH="1">
            <a:off x="242888" y="212765"/>
            <a:ext cx="11706224" cy="369332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i="1" dirty="0"/>
              <a:t>The below data is included in the example spreadsheet to follow along if you’d like</a:t>
            </a:r>
          </a:p>
        </p:txBody>
      </p:sp>
    </p:spTree>
    <p:extLst>
      <p:ext uri="{BB962C8B-B14F-4D97-AF65-F5344CB8AC3E}">
        <p14:creationId xmlns:p14="http://schemas.microsoft.com/office/powerpoint/2010/main" val="1205677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74C60C8-BA36-12DB-3F2C-B4BD1C3B68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C9EBDE0-2A4A-FA78-084D-D68F5FE8B1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>
                <a:cs typeface="Arial"/>
              </a:rPr>
              <a:t>DigData</a:t>
            </a:r>
            <a:r>
              <a:rPr lang="en-GB" dirty="0">
                <a:cs typeface="Arial"/>
              </a:rPr>
              <a:t> – Summary Statistic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A1821051-8ABA-37E3-520E-4FAB94412C6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b="1" dirty="0"/>
              <a:t>NEXT STEP</a:t>
            </a:r>
            <a:endParaRPr lang="en-GB" dirty="0"/>
          </a:p>
        </p:txBody>
      </p:sp>
      <p:pic>
        <p:nvPicPr>
          <p:cNvPr id="2" name="Graphic 2" descr="Bar chart with solid fill">
            <a:extLst>
              <a:ext uri="{FF2B5EF4-FFF2-40B4-BE49-F238E27FC236}">
                <a16:creationId xmlns:a16="http://schemas.microsoft.com/office/drawing/2014/main" id="{EA2FC206-E09A-715B-BA22-1A686BC93F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72375" y="1500187"/>
            <a:ext cx="2376000" cy="2376000"/>
          </a:xfrm>
          <a:prstGeom prst="rect">
            <a:avLst/>
          </a:prstGeom>
        </p:spPr>
      </p:pic>
      <p:pic>
        <p:nvPicPr>
          <p:cNvPr id="3" name="Graphic 3" descr="Calculator with solid fill">
            <a:extLst>
              <a:ext uri="{FF2B5EF4-FFF2-40B4-BE49-F238E27FC236}">
                <a16:creationId xmlns:a16="http://schemas.microsoft.com/office/drawing/2014/main" id="{C7FF8C55-8EB0-A7C0-2A15-0789D4A505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352674" y="1500187"/>
            <a:ext cx="2376000" cy="2376000"/>
          </a:xfrm>
          <a:prstGeom prst="rect">
            <a:avLst/>
          </a:prstGeom>
        </p:spPr>
      </p:pic>
      <p:pic>
        <p:nvPicPr>
          <p:cNvPr id="4" name="Graphic 7" descr="Table with solid fill">
            <a:extLst>
              <a:ext uri="{FF2B5EF4-FFF2-40B4-BE49-F238E27FC236}">
                <a16:creationId xmlns:a16="http://schemas.microsoft.com/office/drawing/2014/main" id="{8D15E1AF-D957-6368-0E8A-60596D5DA59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525" y="1500187"/>
            <a:ext cx="2376000" cy="237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78312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B087E6-29BE-9746-4BD7-E729C14CAAFF}"/>
              </a:ext>
            </a:extLst>
          </p:cNvPr>
          <p:cNvSpPr/>
          <p:nvPr/>
        </p:nvSpPr>
        <p:spPr>
          <a:xfrm>
            <a:off x="257175" y="238126"/>
            <a:ext cx="11706225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/>
              <a:t>STATS</a:t>
            </a:r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6D698C66-FBAC-69B5-5781-EA45C6EE39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1847409"/>
              </p:ext>
            </p:extLst>
          </p:nvPr>
        </p:nvGraphicFramePr>
        <p:xfrm>
          <a:off x="391398" y="1099572"/>
          <a:ext cx="4333002" cy="52631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89752">
                  <a:extLst>
                    <a:ext uri="{9D8B030D-6E8A-4147-A177-3AD203B41FA5}">
                      <a16:colId xmlns:a16="http://schemas.microsoft.com/office/drawing/2014/main" val="2747035167"/>
                    </a:ext>
                  </a:extLst>
                </a:gridCol>
                <a:gridCol w="3143250">
                  <a:extLst>
                    <a:ext uri="{9D8B030D-6E8A-4147-A177-3AD203B41FA5}">
                      <a16:colId xmlns:a16="http://schemas.microsoft.com/office/drawing/2014/main" val="2027810060"/>
                    </a:ext>
                  </a:extLst>
                </a:gridCol>
              </a:tblGrid>
              <a:tr h="704117">
                <a:tc>
                  <a:txBody>
                    <a:bodyPr/>
                    <a:lstStyle/>
                    <a:p>
                      <a:r>
                        <a:rPr lang="en-GB" sz="2800" b="1" dirty="0"/>
                        <a:t>ST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800" b="1" dirty="0"/>
                        <a:t>Fu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471520"/>
                  </a:ext>
                </a:extLst>
              </a:tr>
              <a:tr h="727385">
                <a:tc>
                  <a:txBody>
                    <a:bodyPr/>
                    <a:lstStyle/>
                    <a:p>
                      <a:r>
                        <a:rPr lang="en-GB" sz="1400" dirty="0"/>
                        <a:t>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UNT(value1, [value2], …)</a:t>
                      </a:r>
                      <a:endParaRPr lang="en-GB" sz="14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493523"/>
                  </a:ext>
                </a:extLst>
              </a:tr>
              <a:tr h="991890">
                <a:tc>
                  <a:txBody>
                    <a:bodyPr/>
                    <a:lstStyle/>
                    <a:p>
                      <a:r>
                        <a:rPr lang="en-GB" sz="1400" dirty="0"/>
                        <a:t>COUNTI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UNTIFS(criteria_range1, criteria1, [criteria_range2, criteria2]…)</a:t>
                      </a:r>
                      <a:endParaRPr lang="it-IT" sz="14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0995263"/>
                  </a:ext>
                </a:extLst>
              </a:tr>
              <a:tr h="704117">
                <a:tc>
                  <a:txBody>
                    <a:bodyPr/>
                    <a:lstStyle/>
                    <a:p>
                      <a:r>
                        <a:rPr lang="en-GB" sz="1400" dirty="0"/>
                        <a:t>ME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ERAGE(number1, [number2], …)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1908952"/>
                  </a:ext>
                </a:extLst>
              </a:tr>
              <a:tr h="727385">
                <a:tc>
                  <a:txBody>
                    <a:bodyPr/>
                    <a:lstStyle/>
                    <a:p>
                      <a:r>
                        <a:rPr lang="en-GB" sz="1400" dirty="0"/>
                        <a:t>MIN,MA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1" dirty="0"/>
                        <a:t>MIN</a:t>
                      </a:r>
                      <a:r>
                        <a:rPr lang="en-GB" sz="14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number1, [</a:t>
                      </a:r>
                      <a:r>
                        <a:rPr lang="en-GB" sz="1400" b="1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2], …), MAX</a:t>
                      </a:r>
                      <a:r>
                        <a:rPr lang="en-GB" sz="14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number1, [number2], …)</a:t>
                      </a:r>
                      <a:endParaRPr lang="en-GB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8903217"/>
                  </a:ext>
                </a:extLst>
              </a:tr>
              <a:tr h="704117">
                <a:tc>
                  <a:txBody>
                    <a:bodyPr/>
                    <a:lstStyle/>
                    <a:p>
                      <a:r>
                        <a:rPr lang="en-GB" sz="1400" dirty="0"/>
                        <a:t>MEDI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1" dirty="0"/>
                        <a:t>MEDIAN</a:t>
                      </a:r>
                      <a:r>
                        <a:rPr lang="en-GB" sz="14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number1, [number2], …)</a:t>
                      </a:r>
                      <a:endParaRPr lang="en-GB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5811596"/>
                  </a:ext>
                </a:extLst>
              </a:tr>
              <a:tr h="704117">
                <a:tc>
                  <a:txBody>
                    <a:bodyPr/>
                    <a:lstStyle/>
                    <a:p>
                      <a:r>
                        <a:rPr lang="en-GB" sz="1400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1" dirty="0"/>
                        <a:t>TOTAL</a:t>
                      </a:r>
                      <a:r>
                        <a:rPr lang="en-GB" sz="14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number1, [number2], …)</a:t>
                      </a:r>
                      <a:endParaRPr lang="en-GB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9447315"/>
                  </a:ext>
                </a:extLst>
              </a:tr>
            </a:tbl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1F6AEA3C-11F5-408A-BB4D-22787B38D6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7709" y="3429000"/>
            <a:ext cx="5039785" cy="288818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82584CC-E463-F700-B3C4-405C13D1F905}"/>
              </a:ext>
            </a:extLst>
          </p:cNvPr>
          <p:cNvSpPr txBox="1"/>
          <p:nvPr/>
        </p:nvSpPr>
        <p:spPr>
          <a:xfrm flipH="1">
            <a:off x="4838700" y="1070015"/>
            <a:ext cx="7124699" cy="2031325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ouble click the cells in the example spreadsheet to see the formula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unctions can be adapted to ignore #NA values by using their ‘IF’ versions e.g. </a:t>
            </a:r>
            <a:r>
              <a:rPr lang="pt-BR" sz="1800" dirty="0"/>
              <a:t>AVERAGEIF(number1, number2,"&lt;&gt;#N/A"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Don’t be limited by our example statistics. </a:t>
            </a:r>
            <a:r>
              <a:rPr lang="pt-BR" sz="1800" dirty="0"/>
              <a:t>Clicking the cell you require and then the fx button presents you with a range of different functions to use. 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2308386-6AB1-E099-F0CD-294CD919E971}"/>
              </a:ext>
            </a:extLst>
          </p:cNvPr>
          <p:cNvGrpSpPr/>
          <p:nvPr/>
        </p:nvGrpSpPr>
        <p:grpSpPr>
          <a:xfrm>
            <a:off x="10332720" y="3889989"/>
            <a:ext cx="1554480" cy="2476846"/>
            <a:chOff x="10332720" y="3889989"/>
            <a:chExt cx="1554480" cy="247684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DD32FF59-FD1A-12C5-5AB7-AEF64BBE2D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4146" r="36248"/>
            <a:stretch/>
          </p:blipFill>
          <p:spPr>
            <a:xfrm>
              <a:off x="10332720" y="3889989"/>
              <a:ext cx="1554480" cy="2476846"/>
            </a:xfrm>
            <a:prstGeom prst="rect">
              <a:avLst/>
            </a:prstGeom>
          </p:spPr>
        </p:pic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AD6482B-911C-8E2B-A290-A4BB79377B9E}"/>
                </a:ext>
              </a:extLst>
            </p:cNvPr>
            <p:cNvSpPr/>
            <p:nvPr/>
          </p:nvSpPr>
          <p:spPr>
            <a:xfrm>
              <a:off x="10485120" y="4378960"/>
              <a:ext cx="1239520" cy="840740"/>
            </a:xfrm>
            <a:prstGeom prst="ellipse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081161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B087E6-29BE-9746-4BD7-E729C14CAAFF}"/>
              </a:ext>
            </a:extLst>
          </p:cNvPr>
          <p:cNvSpPr/>
          <p:nvPr/>
        </p:nvSpPr>
        <p:spPr>
          <a:xfrm>
            <a:off x="257175" y="238126"/>
            <a:ext cx="11706225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/>
              <a:t>PLOTS</a:t>
            </a:r>
            <a:endParaRPr lang="en-GB" sz="3200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024E110-E0E2-93B0-48B3-95CDA45D7BC0}"/>
              </a:ext>
            </a:extLst>
          </p:cNvPr>
          <p:cNvSpPr txBox="1"/>
          <p:nvPr/>
        </p:nvSpPr>
        <p:spPr>
          <a:xfrm flipH="1">
            <a:off x="342900" y="1121400"/>
            <a:ext cx="11706224" cy="923330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On the insert tab there are a range of different plots to choose fro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lick on the graph you want, and specify your data as show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You can view the example data range by clicking on the example plot provided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053D0A6-4AE9-F937-48F0-5ECD58764874}"/>
              </a:ext>
            </a:extLst>
          </p:cNvPr>
          <p:cNvGrpSpPr/>
          <p:nvPr/>
        </p:nvGrpSpPr>
        <p:grpSpPr>
          <a:xfrm>
            <a:off x="557077" y="2256175"/>
            <a:ext cx="8682772" cy="1877993"/>
            <a:chOff x="557077" y="2256175"/>
            <a:chExt cx="8682772" cy="1877993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18DEA10-D239-C2B7-BBEB-66FC6611F373}"/>
                </a:ext>
              </a:extLst>
            </p:cNvPr>
            <p:cNvGrpSpPr/>
            <p:nvPr/>
          </p:nvGrpSpPr>
          <p:grpSpPr>
            <a:xfrm>
              <a:off x="557077" y="2256175"/>
              <a:ext cx="8682772" cy="1877993"/>
              <a:chOff x="1490527" y="2663585"/>
              <a:chExt cx="8682772" cy="1877993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2B46B978-5FAD-B026-58C4-13FACB4ACE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490527" y="2663585"/>
                <a:ext cx="8682772" cy="1877993"/>
              </a:xfrm>
              <a:prstGeom prst="rect">
                <a:avLst/>
              </a:prstGeom>
            </p:spPr>
          </p:pic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E11F4181-8513-CEF1-516F-3177C63611D8}"/>
                  </a:ext>
                </a:extLst>
              </p:cNvPr>
              <p:cNvSpPr/>
              <p:nvPr/>
            </p:nvSpPr>
            <p:spPr>
              <a:xfrm>
                <a:off x="2509701" y="3211249"/>
                <a:ext cx="1085850" cy="628650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A08A5AFF-CA6C-E610-465D-E06124391744}"/>
                </a:ext>
              </a:extLst>
            </p:cNvPr>
            <p:cNvSpPr/>
            <p:nvPr/>
          </p:nvSpPr>
          <p:spPr>
            <a:xfrm>
              <a:off x="4633545" y="2300897"/>
              <a:ext cx="4281855" cy="1788547"/>
            </a:xfrm>
            <a:prstGeom prst="ellipse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ECBFDB2-DFBD-298D-FCB0-39372633B585}"/>
              </a:ext>
            </a:extLst>
          </p:cNvPr>
          <p:cNvGrpSpPr/>
          <p:nvPr/>
        </p:nvGrpSpPr>
        <p:grpSpPr>
          <a:xfrm>
            <a:off x="2119176" y="4681832"/>
            <a:ext cx="1952898" cy="1619476"/>
            <a:chOff x="2119176" y="4681832"/>
            <a:chExt cx="1952898" cy="1619476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3641A5C-F086-7C0F-A27B-96373055633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19176" y="4681832"/>
              <a:ext cx="1952898" cy="1619476"/>
            </a:xfrm>
            <a:prstGeom prst="rect">
              <a:avLst/>
            </a:prstGeom>
          </p:spPr>
        </p:pic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586D662D-4BFD-CE8B-302D-DD31BA3A487B}"/>
                </a:ext>
              </a:extLst>
            </p:cNvPr>
            <p:cNvSpPr/>
            <p:nvPr/>
          </p:nvSpPr>
          <p:spPr>
            <a:xfrm>
              <a:off x="2505075" y="4768609"/>
              <a:ext cx="1181100" cy="1127365"/>
            </a:xfrm>
            <a:prstGeom prst="ellipse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83A40AAD-7DCD-7D97-12E1-00A791E0ED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7012" y="4310564"/>
            <a:ext cx="4482137" cy="2443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749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B087E6-29BE-9746-4BD7-E729C14CAAFF}"/>
              </a:ext>
            </a:extLst>
          </p:cNvPr>
          <p:cNvSpPr/>
          <p:nvPr/>
        </p:nvSpPr>
        <p:spPr>
          <a:xfrm>
            <a:off x="257175" y="238126"/>
            <a:ext cx="11706225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/>
              <a:t>PIVOT TAB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024E110-E0E2-93B0-48B3-95CDA45D7BC0}"/>
              </a:ext>
            </a:extLst>
          </p:cNvPr>
          <p:cNvSpPr txBox="1"/>
          <p:nvPr/>
        </p:nvSpPr>
        <p:spPr>
          <a:xfrm flipH="1">
            <a:off x="342900" y="1121400"/>
            <a:ext cx="11706224" cy="923330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f you would like to explore how to create a pivot table in excel, please refer to the following guid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hlinkClick r:id="rId2"/>
              </a:rPr>
              <a:t>https://www.excel-easy.com/data-analysis/pivot-tables.html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B9E9AA-AAE1-1A94-B10B-67857A36A2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5924" y="2395378"/>
            <a:ext cx="7340152" cy="341487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158AB69-8E60-1B14-3F34-AFB02EF6FF9B}"/>
              </a:ext>
            </a:extLst>
          </p:cNvPr>
          <p:cNvSpPr txBox="1"/>
          <p:nvPr/>
        </p:nvSpPr>
        <p:spPr>
          <a:xfrm>
            <a:off x="2425923" y="5810250"/>
            <a:ext cx="73401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i="1" dirty="0"/>
              <a:t>Example of a pivot table</a:t>
            </a:r>
          </a:p>
        </p:txBody>
      </p:sp>
    </p:spTree>
    <p:extLst>
      <p:ext uri="{BB962C8B-B14F-4D97-AF65-F5344CB8AC3E}">
        <p14:creationId xmlns:p14="http://schemas.microsoft.com/office/powerpoint/2010/main" val="28801343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74C60C8-BA36-12DB-3F2C-B4BD1C3B68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C9EBDE0-2A4A-FA78-084D-D68F5FE8B1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>
                <a:cs typeface="Arial"/>
              </a:rPr>
              <a:t>DigData</a:t>
            </a:r>
            <a:r>
              <a:rPr lang="en-GB" dirty="0">
                <a:cs typeface="Arial"/>
              </a:rPr>
              <a:t> – Data Cleaning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A1821051-8ABA-37E3-520E-4FAB94412C6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b="1"/>
              <a:t>NEXT STEP</a:t>
            </a:r>
            <a:endParaRPr lang="en-GB" dirty="0"/>
          </a:p>
        </p:txBody>
      </p:sp>
      <p:pic>
        <p:nvPicPr>
          <p:cNvPr id="2" name="Graphic 2" descr="Mop and bucket with solid fill">
            <a:extLst>
              <a:ext uri="{FF2B5EF4-FFF2-40B4-BE49-F238E27FC236}">
                <a16:creationId xmlns:a16="http://schemas.microsoft.com/office/drawing/2014/main" id="{899CC1BD-3CB7-E0EA-2A8D-F1DB58B2E0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115686" y="1671637"/>
            <a:ext cx="2376000" cy="2376000"/>
          </a:xfrm>
          <a:prstGeom prst="rect">
            <a:avLst/>
          </a:prstGeom>
        </p:spPr>
      </p:pic>
      <p:pic>
        <p:nvPicPr>
          <p:cNvPr id="3" name="Graphic 3" descr="Filter with solid fill">
            <a:extLst>
              <a:ext uri="{FF2B5EF4-FFF2-40B4-BE49-F238E27FC236}">
                <a16:creationId xmlns:a16="http://schemas.microsoft.com/office/drawing/2014/main" id="{B1655B69-00C5-9B41-3D83-9EEBDDB87C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43393" y="1671637"/>
            <a:ext cx="2376000" cy="2376000"/>
          </a:xfrm>
          <a:prstGeom prst="rect">
            <a:avLst/>
          </a:prstGeom>
        </p:spPr>
      </p:pic>
      <p:pic>
        <p:nvPicPr>
          <p:cNvPr id="18" name="Graphic 7" descr="Table with solid fill">
            <a:extLst>
              <a:ext uri="{FF2B5EF4-FFF2-40B4-BE49-F238E27FC236}">
                <a16:creationId xmlns:a16="http://schemas.microsoft.com/office/drawing/2014/main" id="{3A713B87-4F06-2B50-5D66-F6A1B240234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05374" y="1671637"/>
            <a:ext cx="2376000" cy="2376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09917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B087E6-29BE-9746-4BD7-E729C14CAAFF}"/>
              </a:ext>
            </a:extLst>
          </p:cNvPr>
          <p:cNvSpPr/>
          <p:nvPr/>
        </p:nvSpPr>
        <p:spPr>
          <a:xfrm>
            <a:off x="257175" y="238126"/>
            <a:ext cx="11706225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/>
              <a:t>Enable ‘Data’ tab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5DCA52A-E30F-6C91-007A-95B9AB57CE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175" y="2473583"/>
            <a:ext cx="2800741" cy="13908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5D88C94-C52B-5139-3BA0-E67695F472A9}"/>
              </a:ext>
            </a:extLst>
          </p:cNvPr>
          <p:cNvSpPr txBox="1"/>
          <p:nvPr/>
        </p:nvSpPr>
        <p:spPr>
          <a:xfrm flipH="1">
            <a:off x="257175" y="1070015"/>
            <a:ext cx="11706224" cy="1200329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ight-click in empty space in ribb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lick ‘Customise the Ribbon’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Ensure the ‘Data’ tab is ticked (circl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lick ‘OK’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FFBAE16-CFFB-AF84-6C38-4D80123440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8550" y="2347436"/>
            <a:ext cx="5398858" cy="4320063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5AC07CE3-07E7-5E77-118D-F8BDBD7DC949}"/>
              </a:ext>
            </a:extLst>
          </p:cNvPr>
          <p:cNvSpPr/>
          <p:nvPr/>
        </p:nvSpPr>
        <p:spPr>
          <a:xfrm>
            <a:off x="6941672" y="5001845"/>
            <a:ext cx="577410" cy="290466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58B58D-98E1-3C6D-872B-D054813093D5}"/>
              </a:ext>
            </a:extLst>
          </p:cNvPr>
          <p:cNvSpPr/>
          <p:nvPr/>
        </p:nvSpPr>
        <p:spPr>
          <a:xfrm>
            <a:off x="2670361" y="2608768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D82A2CE-6B01-5E35-6E0C-F1CBFC5FF543}"/>
              </a:ext>
            </a:extLst>
          </p:cNvPr>
          <p:cNvSpPr/>
          <p:nvPr/>
        </p:nvSpPr>
        <p:spPr>
          <a:xfrm>
            <a:off x="4278163" y="2767056"/>
            <a:ext cx="232272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6395850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B087E6-29BE-9746-4BD7-E729C14CAAFF}"/>
              </a:ext>
            </a:extLst>
          </p:cNvPr>
          <p:cNvSpPr/>
          <p:nvPr/>
        </p:nvSpPr>
        <p:spPr>
          <a:xfrm>
            <a:off x="257175" y="257176"/>
            <a:ext cx="11706225" cy="6096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/>
              <a:t>Autofit column width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D72331-96C8-AAD7-8635-49A99683BDCB}"/>
              </a:ext>
            </a:extLst>
          </p:cNvPr>
          <p:cNvSpPr txBox="1"/>
          <p:nvPr/>
        </p:nvSpPr>
        <p:spPr>
          <a:xfrm flipH="1">
            <a:off x="257174" y="1070015"/>
            <a:ext cx="11706224" cy="646331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Highlight all the colum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ormat &gt; AutoFit Column Width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24B90B7-E9A6-E372-7AEB-13C5216239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174" y="1898100"/>
            <a:ext cx="11646804" cy="3005154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BA850C2-9DFA-5C27-A4C7-84BFEC069A31}"/>
              </a:ext>
            </a:extLst>
          </p:cNvPr>
          <p:cNvSpPr/>
          <p:nvPr/>
        </p:nvSpPr>
        <p:spPr>
          <a:xfrm>
            <a:off x="10246934" y="4259308"/>
            <a:ext cx="1539598" cy="375498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02F1C62-69E3-3AED-E99C-5DE1938A58BE}"/>
              </a:ext>
            </a:extLst>
          </p:cNvPr>
          <p:cNvSpPr/>
          <p:nvPr/>
        </p:nvSpPr>
        <p:spPr>
          <a:xfrm>
            <a:off x="363388" y="2346878"/>
            <a:ext cx="268448" cy="285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4455603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GSK 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_Template_2022">
      <a:majorFont>
        <a:latin typeface="Arial"/>
        <a:ea typeface=""/>
        <a:cs typeface="Noto Sans"/>
      </a:majorFont>
      <a:minorFont>
        <a:latin typeface="Arial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5750" indent="-285750" algn="l" eaLnBrk="0" fontAlgn="auto" hangingPunct="0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kern="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0000" tIns="180000" rIns="180000" bIns="180000" rtlCol="0">
        <a:normAutofit/>
      </a:bodyPr>
      <a:lstStyle>
        <a:defPPr marL="285750" indent="-285750" algn="l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SK_New_PPT_16x9_Template_Sep22_v2  -  Read-Only" id="{EE3E7A9B-3AB6-4322-B87F-828C0A0D3317}" vid="{EC6655C6-C3EC-4531-B19E-81C81EAA6C18}"/>
    </a:ext>
  </a:extLst>
</a:theme>
</file>

<file path=ppt/theme/theme3.xml><?xml version="1.0" encoding="utf-8"?>
<a:theme xmlns:a="http://schemas.openxmlformats.org/drawingml/2006/main" name="GSK 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_Template_2022">
      <a:majorFont>
        <a:latin typeface="Arial"/>
        <a:ea typeface=""/>
        <a:cs typeface="Noto Sans"/>
      </a:majorFont>
      <a:minorFont>
        <a:latin typeface="Arial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5750" indent="-285750" algn="l" eaLnBrk="0" fontAlgn="auto" hangingPunct="0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kern="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0000" tIns="180000" rIns="180000" bIns="180000" rtlCol="0">
        <a:normAutofit/>
      </a:bodyPr>
      <a:lstStyle>
        <a:defPPr marL="285750" indent="-285750" algn="l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SK_New_PPT_16x9_Template_Sep22_v2  -  Read-Only" id="{EE3E7A9B-3AB6-4322-B87F-828C0A0D3317}" vid="{EC6655C6-C3EC-4531-B19E-81C81EAA6C18}"/>
    </a:ext>
  </a:extLst>
</a:theme>
</file>

<file path=ppt/theme/theme4.xml><?xml version="1.0" encoding="utf-8"?>
<a:theme xmlns:a="http://schemas.openxmlformats.org/drawingml/2006/main" name="GSK 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_Template_2022">
      <a:majorFont>
        <a:latin typeface="Arial"/>
        <a:ea typeface=""/>
        <a:cs typeface="Noto Sans"/>
      </a:majorFont>
      <a:minorFont>
        <a:latin typeface="Arial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5750" indent="-285750" algn="l" eaLnBrk="0" fontAlgn="auto" hangingPunct="0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kern="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0000" tIns="180000" rIns="180000" bIns="180000" rtlCol="0">
        <a:normAutofit/>
      </a:bodyPr>
      <a:lstStyle>
        <a:defPPr marL="285750" indent="-285750" algn="l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SK_New_PPT_16x9_Template_Sep22_v2  -  Read-Only" id="{EE3E7A9B-3AB6-4322-B87F-828C0A0D3317}" vid="{EC6655C6-C3EC-4531-B19E-81C81EAA6C1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7BC96C53AC91448B24931B71C72744" ma:contentTypeVersion="6" ma:contentTypeDescription="Create a new document." ma:contentTypeScope="" ma:versionID="be9719ac43962b704393c787678fb391">
  <xsd:schema xmlns:xsd="http://www.w3.org/2001/XMLSchema" xmlns:xs="http://www.w3.org/2001/XMLSchema" xmlns:p="http://schemas.microsoft.com/office/2006/metadata/properties" xmlns:ns2="3078a058-1d05-4856-b739-01fbaabd08f7" xmlns:ns3="5f224914-cb98-4559-82bc-ec7a0cb14ab2" targetNamespace="http://schemas.microsoft.com/office/2006/metadata/properties" ma:root="true" ma:fieldsID="2f43bd68f541077f4e25c20359c7baa4" ns2:_="" ns3:_="">
    <xsd:import namespace="3078a058-1d05-4856-b739-01fbaabd08f7"/>
    <xsd:import namespace="5f224914-cb98-4559-82bc-ec7a0cb14a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78a058-1d05-4856-b739-01fbaabd08f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224914-cb98-4559-82bc-ec7a0cb14ab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E2A32C2-EF5D-4698-A1DE-BEEB034D8C8C}">
  <ds:schemaRefs>
    <ds:schemaRef ds:uri="http://schemas.openxmlformats.org/package/2006/metadata/core-properties"/>
    <ds:schemaRef ds:uri="5f224914-cb98-4559-82bc-ec7a0cb14ab2"/>
    <ds:schemaRef ds:uri="http://purl.org/dc/terms/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microsoft.com/office/infopath/2007/PartnerControls"/>
    <ds:schemaRef ds:uri="3078a058-1d05-4856-b739-01fbaabd08f7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FE13BF3-D1A4-4B7B-B2F2-961CC448B93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961B89D-C52F-46B0-94B2-315F4FE1CDDA}">
  <ds:schemaRefs>
    <ds:schemaRef ds:uri="3078a058-1d05-4856-b739-01fbaabd08f7"/>
    <ds:schemaRef ds:uri="5f224914-cb98-4559-82bc-ec7a0cb14ab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75</TotalTime>
  <Words>1006</Words>
  <Application>Microsoft Office PowerPoint</Application>
  <PresentationFormat>Widescreen</PresentationFormat>
  <Paragraphs>247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Arial</vt:lpstr>
      <vt:lpstr>Arial,Sans-Serif</vt:lpstr>
      <vt:lpstr>Calibri</vt:lpstr>
      <vt:lpstr>Calibri Light</vt:lpstr>
      <vt:lpstr>Consolas</vt:lpstr>
      <vt:lpstr>Office Theme</vt:lpstr>
      <vt:lpstr>GSK </vt:lpstr>
      <vt:lpstr>GSK </vt:lpstr>
      <vt:lpstr>GSK </vt:lpstr>
      <vt:lpstr>think-cell Slide</vt:lpstr>
      <vt:lpstr>DigData – Excel Cheat Sheet</vt:lpstr>
      <vt:lpstr>PowerPoint Presentation</vt:lpstr>
      <vt:lpstr>DigData – Summary Statistics</vt:lpstr>
      <vt:lpstr>PowerPoint Presentation</vt:lpstr>
      <vt:lpstr>PowerPoint Presentation</vt:lpstr>
      <vt:lpstr>PowerPoint Presentation</vt:lpstr>
      <vt:lpstr>DigData – Data Clean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nd of Slide Dec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Data – Excel Functions</dc:title>
  <dc:creator>Karima Ahmad</dc:creator>
  <cp:lastModifiedBy>rachel keane</cp:lastModifiedBy>
  <cp:revision>49</cp:revision>
  <dcterms:created xsi:type="dcterms:W3CDTF">2023-03-28T00:07:04Z</dcterms:created>
  <dcterms:modified xsi:type="dcterms:W3CDTF">2023-05-03T10:57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77BC96C53AC91448B24931B71C72744</vt:lpwstr>
  </property>
</Properties>
</file>